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media/image47.jpg" ContentType="image/jpg"/>
  <Override PartName="/ppt/media/image48.jpg" ContentType="image/jpg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4"/>
  </p:sldMasterIdLst>
  <p:notesMasterIdLst>
    <p:notesMasterId r:id="rId17"/>
  </p:notesMasterIdLst>
  <p:handoutMasterIdLst>
    <p:handoutMasterId r:id="rId18"/>
  </p:handoutMasterIdLst>
  <p:sldIdLst>
    <p:sldId id="1178" r:id="rId5"/>
    <p:sldId id="1156" r:id="rId6"/>
    <p:sldId id="277" r:id="rId7"/>
    <p:sldId id="288" r:id="rId8"/>
    <p:sldId id="1153" r:id="rId9"/>
    <p:sldId id="1189" r:id="rId10"/>
    <p:sldId id="1174" r:id="rId11"/>
    <p:sldId id="1177" r:id="rId12"/>
    <p:sldId id="1150" r:id="rId13"/>
    <p:sldId id="261" r:id="rId14"/>
    <p:sldId id="1173" r:id="rId15"/>
    <p:sldId id="260" r:id="rId16"/>
  </p:sldIdLst>
  <p:sldSz cx="12192000" cy="6858000"/>
  <p:notesSz cx="6797675" cy="9928225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25" userDrawn="1">
          <p15:clr>
            <a:srgbClr val="A4A3A4"/>
          </p15:clr>
        </p15:guide>
        <p15:guide id="2" pos="3931" userDrawn="1">
          <p15:clr>
            <a:srgbClr val="A4A3A4"/>
          </p15:clr>
        </p15:guide>
        <p15:guide id="3" orient="horz" pos="1344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CC6682B-375D-9725-466C-707DCB32FA27}" name="Marcela Bazan" initials="MB" userId="S::marcela.bazan@transantiago.cl::a4c50bb0-e6da-4655-a257-8b3859c4f66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idia.hip" initials="n" lastIdx="7" clrIdx="0"/>
  <p:cmAuthor id="1" name="Paula" initials="P" lastIdx="4" clrIdx="1"/>
  <p:cmAuthor id="2" name="daniela.rubio" initials="d" lastIdx="0" clrIdx="2"/>
  <p:cmAuthor id="3" name="Paula Andrea Valenzuela Cordova (paula.valenzuela@dtpm.gob.cl)" initials="PAVC(" lastIdx="1" clrIdx="3"/>
  <p:cmAuthor id="4" name="Nidia Hip" initials="NH" lastIdx="5" clrIdx="4"/>
  <p:cmAuthor id="5" name="Ignacio Abud Novoa" initials="IAN" lastIdx="1" clrIdx="5">
    <p:extLst>
      <p:ext uri="{19B8F6BF-5375-455C-9EA6-DF929625EA0E}">
        <p15:presenceInfo xmlns:p15="http://schemas.microsoft.com/office/powerpoint/2012/main" userId="S::ignacio.abud@transantiago.cl::b7318f97-b62b-449a-9f92-d81cb2e45b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00A249"/>
    <a:srgbClr val="BF7750"/>
    <a:srgbClr val="3682A5"/>
    <a:srgbClr val="E43439"/>
    <a:srgbClr val="EFD303"/>
    <a:srgbClr val="E3C803"/>
    <a:srgbClr val="FF6600"/>
    <a:srgbClr val="689E57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DB6EF5-CD01-4C90-B367-C4267EA4E68E}" v="1" dt="2022-08-18T18:14:18.93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61" autoAdjust="0"/>
    <p:restoredTop sz="94660"/>
  </p:normalViewPr>
  <p:slideViewPr>
    <p:cSldViewPr snapToGrid="0">
      <p:cViewPr varScale="1">
        <p:scale>
          <a:sx n="62" d="100"/>
          <a:sy n="62" d="100"/>
        </p:scale>
        <p:origin x="816" y="52"/>
      </p:cViewPr>
      <p:guideLst>
        <p:guide orient="horz" pos="1525"/>
        <p:guide pos="3931"/>
        <p:guide orient="horz" pos="134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na Dragicevic Parot" userId="41bbd016-dea3-4f92-9ac7-37fe2e9521b0" providerId="ADAL" clId="{B0B5457C-028E-4BE3-A696-120104050809}"/>
    <pc:docChg chg="undo custSel delSld modSld sldOrd">
      <pc:chgData name="Marina Dragicevic Parot" userId="41bbd016-dea3-4f92-9ac7-37fe2e9521b0" providerId="ADAL" clId="{B0B5457C-028E-4BE3-A696-120104050809}" dt="2022-07-05T13:37:18.661" v="233"/>
      <pc:docMkLst>
        <pc:docMk/>
      </pc:docMkLst>
      <pc:sldChg chg="delSp modSp mod">
        <pc:chgData name="Marina Dragicevic Parot" userId="41bbd016-dea3-4f92-9ac7-37fe2e9521b0" providerId="ADAL" clId="{B0B5457C-028E-4BE3-A696-120104050809}" dt="2022-07-05T13:28:14.738" v="230" actId="1076"/>
        <pc:sldMkLst>
          <pc:docMk/>
          <pc:sldMk cId="2473937384" sldId="1094"/>
        </pc:sldMkLst>
        <pc:spChg chg="mod">
          <ac:chgData name="Marina Dragicevic Parot" userId="41bbd016-dea3-4f92-9ac7-37fe2e9521b0" providerId="ADAL" clId="{B0B5457C-028E-4BE3-A696-120104050809}" dt="2022-07-05T13:28:14.738" v="230" actId="1076"/>
          <ac:spMkLst>
            <pc:docMk/>
            <pc:sldMk cId="2473937384" sldId="1094"/>
            <ac:spMk id="6" creationId="{ACD00399-2EC5-D25C-81A9-61BE6C29A045}"/>
          </ac:spMkLst>
        </pc:spChg>
        <pc:spChg chg="mod">
          <ac:chgData name="Marina Dragicevic Parot" userId="41bbd016-dea3-4f92-9ac7-37fe2e9521b0" providerId="ADAL" clId="{B0B5457C-028E-4BE3-A696-120104050809}" dt="2022-07-05T13:10:13.400" v="21" actId="20577"/>
          <ac:spMkLst>
            <pc:docMk/>
            <pc:sldMk cId="2473937384" sldId="1094"/>
            <ac:spMk id="23" creationId="{7600933E-1250-51E6-80D5-681B1C4241D1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29" creationId="{D5A82CE9-A514-EEA7-8393-E36B04D1B974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30" creationId="{D769081F-B759-DFD0-B27B-8B9D00D62C7D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32" creationId="{42969576-F3BD-2AB7-15E9-BE10729BA6DB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33" creationId="{C0AD977A-37BB-B998-4449-4F7488448C5C}"/>
          </ac:spMkLst>
        </pc:spChg>
        <pc:spChg chg="del">
          <ac:chgData name="Marina Dragicevic Parot" userId="41bbd016-dea3-4f92-9ac7-37fe2e9521b0" providerId="ADAL" clId="{B0B5457C-028E-4BE3-A696-120104050809}" dt="2022-07-05T13:19:54.888" v="106" actId="478"/>
          <ac:spMkLst>
            <pc:docMk/>
            <pc:sldMk cId="2473937384" sldId="1094"/>
            <ac:spMk id="37" creationId="{2E8D90F5-1400-6798-B6C9-E8833665945D}"/>
          </ac:spMkLst>
        </pc:spChg>
        <pc:spChg chg="mod">
          <ac:chgData name="Marina Dragicevic Parot" userId="41bbd016-dea3-4f92-9ac7-37fe2e9521b0" providerId="ADAL" clId="{B0B5457C-028E-4BE3-A696-120104050809}" dt="2022-07-05T13:28:14.738" v="230" actId="1076"/>
          <ac:spMkLst>
            <pc:docMk/>
            <pc:sldMk cId="2473937384" sldId="1094"/>
            <ac:spMk id="39" creationId="{C3B1689E-868E-B502-29F9-073B487DD50F}"/>
          </ac:spMkLst>
        </pc:spChg>
        <pc:spChg chg="mod">
          <ac:chgData name="Marina Dragicevic Parot" userId="41bbd016-dea3-4f92-9ac7-37fe2e9521b0" providerId="ADAL" clId="{B0B5457C-028E-4BE3-A696-120104050809}" dt="2022-07-05T13:28:14.738" v="230" actId="1076"/>
          <ac:spMkLst>
            <pc:docMk/>
            <pc:sldMk cId="2473937384" sldId="1094"/>
            <ac:spMk id="40" creationId="{52DC7C13-E63A-8870-5AE6-67A277A907BF}"/>
          </ac:spMkLst>
        </pc:spChg>
        <pc:spChg chg="mod">
          <ac:chgData name="Marina Dragicevic Parot" userId="41bbd016-dea3-4f92-9ac7-37fe2e9521b0" providerId="ADAL" clId="{B0B5457C-028E-4BE3-A696-120104050809}" dt="2022-07-05T13:28:14.738" v="230" actId="1076"/>
          <ac:spMkLst>
            <pc:docMk/>
            <pc:sldMk cId="2473937384" sldId="1094"/>
            <ac:spMk id="41" creationId="{E633F49C-D311-6217-D82E-D809B9F47BD3}"/>
          </ac:spMkLst>
        </pc:spChg>
        <pc:spChg chg="mod">
          <ac:chgData name="Marina Dragicevic Parot" userId="41bbd016-dea3-4f92-9ac7-37fe2e9521b0" providerId="ADAL" clId="{B0B5457C-028E-4BE3-A696-120104050809}" dt="2022-07-05T13:28:14.738" v="230" actId="1076"/>
          <ac:spMkLst>
            <pc:docMk/>
            <pc:sldMk cId="2473937384" sldId="1094"/>
            <ac:spMk id="42" creationId="{57B4BD08-8996-AAB0-CAD3-A20E61616086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43" creationId="{2F20193F-109D-CDB8-C6D0-F3EF667AEC0F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44" creationId="{89007527-8E0D-BAB2-0499-0A06FEED28BC}"/>
          </ac:spMkLst>
        </pc:spChg>
        <pc:spChg chg="mod">
          <ac:chgData name="Marina Dragicevic Parot" userId="41bbd016-dea3-4f92-9ac7-37fe2e9521b0" providerId="ADAL" clId="{B0B5457C-028E-4BE3-A696-120104050809}" dt="2022-07-05T13:28:00.612" v="228" actId="1076"/>
          <ac:spMkLst>
            <pc:docMk/>
            <pc:sldMk cId="2473937384" sldId="1094"/>
            <ac:spMk id="46" creationId="{731846A4-51B7-202F-31B2-3A9EF7FE3988}"/>
          </ac:spMkLst>
        </pc:spChg>
        <pc:spChg chg="mod">
          <ac:chgData name="Marina Dragicevic Parot" userId="41bbd016-dea3-4f92-9ac7-37fe2e9521b0" providerId="ADAL" clId="{B0B5457C-028E-4BE3-A696-120104050809}" dt="2022-07-05T13:28:00.612" v="228" actId="1076"/>
          <ac:spMkLst>
            <pc:docMk/>
            <pc:sldMk cId="2473937384" sldId="1094"/>
            <ac:spMk id="47" creationId="{0310BB25-D10E-307A-ED7F-41E4D39A95AF}"/>
          </ac:spMkLst>
        </pc:spChg>
        <pc:spChg chg="mod">
          <ac:chgData name="Marina Dragicevic Parot" userId="41bbd016-dea3-4f92-9ac7-37fe2e9521b0" providerId="ADAL" clId="{B0B5457C-028E-4BE3-A696-120104050809}" dt="2022-07-05T13:28:00.612" v="228" actId="1076"/>
          <ac:spMkLst>
            <pc:docMk/>
            <pc:sldMk cId="2473937384" sldId="1094"/>
            <ac:spMk id="48" creationId="{3437BA64-3D17-441A-23A5-9B1FA4EAA189}"/>
          </ac:spMkLst>
        </pc:spChg>
        <pc:spChg chg="mod">
          <ac:chgData name="Marina Dragicevic Parot" userId="41bbd016-dea3-4f92-9ac7-37fe2e9521b0" providerId="ADAL" clId="{B0B5457C-028E-4BE3-A696-120104050809}" dt="2022-07-05T13:28:00.612" v="228" actId="1076"/>
          <ac:spMkLst>
            <pc:docMk/>
            <pc:sldMk cId="2473937384" sldId="1094"/>
            <ac:spMk id="49" creationId="{E8C3B26C-3B7E-9798-138F-C66146E86A35}"/>
          </ac:spMkLst>
        </pc:spChg>
        <pc:spChg chg="mod">
          <ac:chgData name="Marina Dragicevic Parot" userId="41bbd016-dea3-4f92-9ac7-37fe2e9521b0" providerId="ADAL" clId="{B0B5457C-028E-4BE3-A696-120104050809}" dt="2022-07-05T13:28:00.612" v="228" actId="1076"/>
          <ac:spMkLst>
            <pc:docMk/>
            <pc:sldMk cId="2473937384" sldId="1094"/>
            <ac:spMk id="50" creationId="{9D868312-E27B-96A1-EF36-324862BD9C42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51" creationId="{0542B8F3-BE28-2365-13ED-22B47282ABC7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54" creationId="{B15D5A71-A871-88FC-CFEF-1591B16D643C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55" creationId="{82595FA6-574C-DCAE-D69D-44FDCF377D3C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56" creationId="{10710654-8D28-1F40-8E79-A752ADBECB9C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57" creationId="{2935200D-8E94-FBC9-0B19-40CC354A9869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58" creationId="{BC436786-1606-C3BD-132A-980EEC74F86D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60" creationId="{54CB6F64-9BBA-23FD-005F-D14629D89191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61" creationId="{5137BC7F-7D54-21F8-53C1-521644D6F822}"/>
          </ac:spMkLst>
        </pc:spChg>
        <pc:spChg chg="del">
          <ac:chgData name="Marina Dragicevic Parot" userId="41bbd016-dea3-4f92-9ac7-37fe2e9521b0" providerId="ADAL" clId="{B0B5457C-028E-4BE3-A696-120104050809}" dt="2022-07-05T13:09:30.314" v="15" actId="478"/>
          <ac:spMkLst>
            <pc:docMk/>
            <pc:sldMk cId="2473937384" sldId="1094"/>
            <ac:spMk id="62" creationId="{7C8B4A47-1336-BD9E-E35D-A7F18B4B9B45}"/>
          </ac:spMkLst>
        </pc:spChg>
      </pc:sldChg>
      <pc:sldChg chg="modSp mod">
        <pc:chgData name="Marina Dragicevic Parot" userId="41bbd016-dea3-4f92-9ac7-37fe2e9521b0" providerId="ADAL" clId="{B0B5457C-028E-4BE3-A696-120104050809}" dt="2022-07-05T13:23:27.708" v="169" actId="1076"/>
        <pc:sldMkLst>
          <pc:docMk/>
          <pc:sldMk cId="2398568724" sldId="1148"/>
        </pc:sldMkLst>
        <pc:spChg chg="mod">
          <ac:chgData name="Marina Dragicevic Parot" userId="41bbd016-dea3-4f92-9ac7-37fe2e9521b0" providerId="ADAL" clId="{B0B5457C-028E-4BE3-A696-120104050809}" dt="2022-07-05T13:23:03.227" v="163" actId="14100"/>
          <ac:spMkLst>
            <pc:docMk/>
            <pc:sldMk cId="2398568724" sldId="1148"/>
            <ac:spMk id="40" creationId="{1C681A84-29D0-F394-0063-8A8C8CB895B7}"/>
          </ac:spMkLst>
        </pc:spChg>
        <pc:picChg chg="mod">
          <ac:chgData name="Marina Dragicevic Parot" userId="41bbd016-dea3-4f92-9ac7-37fe2e9521b0" providerId="ADAL" clId="{B0B5457C-028E-4BE3-A696-120104050809}" dt="2022-07-05T13:23:27.708" v="169" actId="1076"/>
          <ac:picMkLst>
            <pc:docMk/>
            <pc:sldMk cId="2398568724" sldId="1148"/>
            <ac:picMk id="41" creationId="{584A938B-815A-4400-9219-768E86CE4F89}"/>
          </ac:picMkLst>
        </pc:picChg>
        <pc:picChg chg="mod">
          <ac:chgData name="Marina Dragicevic Parot" userId="41bbd016-dea3-4f92-9ac7-37fe2e9521b0" providerId="ADAL" clId="{B0B5457C-028E-4BE3-A696-120104050809}" dt="2022-07-05T13:23:23.361" v="168" actId="1076"/>
          <ac:picMkLst>
            <pc:docMk/>
            <pc:sldMk cId="2398568724" sldId="1148"/>
            <ac:picMk id="42" creationId="{451D6107-0B92-4954-A8E3-6C79B735DD25}"/>
          </ac:picMkLst>
        </pc:picChg>
      </pc:sldChg>
      <pc:sldChg chg="addSp modSp mod">
        <pc:chgData name="Marina Dragicevic Parot" userId="41bbd016-dea3-4f92-9ac7-37fe2e9521b0" providerId="ADAL" clId="{B0B5457C-028E-4BE3-A696-120104050809}" dt="2022-07-05T13:22:42.482" v="162" actId="1076"/>
        <pc:sldMkLst>
          <pc:docMk/>
          <pc:sldMk cId="1964452394" sldId="1150"/>
        </pc:sldMkLst>
        <pc:spChg chg="mod">
          <ac:chgData name="Marina Dragicevic Parot" userId="41bbd016-dea3-4f92-9ac7-37fe2e9521b0" providerId="ADAL" clId="{B0B5457C-028E-4BE3-A696-120104050809}" dt="2022-07-05T13:22:42.482" v="162" actId="1076"/>
          <ac:spMkLst>
            <pc:docMk/>
            <pc:sldMk cId="1964452394" sldId="1150"/>
            <ac:spMk id="47" creationId="{964C6096-B8E6-6CE4-00A1-9B6E9E2125D9}"/>
          </ac:spMkLst>
        </pc:spChg>
        <pc:spChg chg="mod">
          <ac:chgData name="Marina Dragicevic Parot" userId="41bbd016-dea3-4f92-9ac7-37fe2e9521b0" providerId="ADAL" clId="{B0B5457C-028E-4BE3-A696-120104050809}" dt="2022-07-05T13:22:42.482" v="162" actId="1076"/>
          <ac:spMkLst>
            <pc:docMk/>
            <pc:sldMk cId="1964452394" sldId="1150"/>
            <ac:spMk id="49" creationId="{F2CFF0A0-8FD7-F69B-2493-9521AB395A04}"/>
          </ac:spMkLst>
        </pc:spChg>
        <pc:spChg chg="mod">
          <ac:chgData name="Marina Dragicevic Parot" userId="41bbd016-dea3-4f92-9ac7-37fe2e9521b0" providerId="ADAL" clId="{B0B5457C-028E-4BE3-A696-120104050809}" dt="2022-07-05T13:22:38.793" v="161" actId="1076"/>
          <ac:spMkLst>
            <pc:docMk/>
            <pc:sldMk cId="1964452394" sldId="1150"/>
            <ac:spMk id="53" creationId="{8EF18FA4-37B9-4435-F2F1-E6EB42B83C80}"/>
          </ac:spMkLst>
        </pc:spChg>
        <pc:spChg chg="mod">
          <ac:chgData name="Marina Dragicevic Parot" userId="41bbd016-dea3-4f92-9ac7-37fe2e9521b0" providerId="ADAL" clId="{B0B5457C-028E-4BE3-A696-120104050809}" dt="2022-07-05T13:22:38.793" v="161" actId="1076"/>
          <ac:spMkLst>
            <pc:docMk/>
            <pc:sldMk cId="1964452394" sldId="1150"/>
            <ac:spMk id="54" creationId="{2A0D76E8-5BA8-8E7B-B31C-527064F529D1}"/>
          </ac:spMkLst>
        </pc:spChg>
        <pc:spChg chg="mod">
          <ac:chgData name="Marina Dragicevic Parot" userId="41bbd016-dea3-4f92-9ac7-37fe2e9521b0" providerId="ADAL" clId="{B0B5457C-028E-4BE3-A696-120104050809}" dt="2022-07-05T13:22:13.712" v="156" actId="12788"/>
          <ac:spMkLst>
            <pc:docMk/>
            <pc:sldMk cId="1964452394" sldId="1150"/>
            <ac:spMk id="55" creationId="{304C4842-737C-C29E-5A97-FD3A3A99C977}"/>
          </ac:spMkLst>
        </pc:spChg>
        <pc:spChg chg="mod">
          <ac:chgData name="Marina Dragicevic Parot" userId="41bbd016-dea3-4f92-9ac7-37fe2e9521b0" providerId="ADAL" clId="{B0B5457C-028E-4BE3-A696-120104050809}" dt="2022-07-05T13:22:21.583" v="159" actId="12788"/>
          <ac:spMkLst>
            <pc:docMk/>
            <pc:sldMk cId="1964452394" sldId="1150"/>
            <ac:spMk id="56" creationId="{A9EE2EA1-D3AE-310C-4935-1D5F5B8E4CE7}"/>
          </ac:spMkLst>
        </pc:spChg>
        <pc:spChg chg="mod">
          <ac:chgData name="Marina Dragicevic Parot" userId="41bbd016-dea3-4f92-9ac7-37fe2e9521b0" providerId="ADAL" clId="{B0B5457C-028E-4BE3-A696-120104050809}" dt="2022-07-05T13:22:38.793" v="161" actId="1076"/>
          <ac:spMkLst>
            <pc:docMk/>
            <pc:sldMk cId="1964452394" sldId="1150"/>
            <ac:spMk id="57" creationId="{E301917A-3AD6-5A98-5357-93295CB7613B}"/>
          </ac:spMkLst>
        </pc:spChg>
        <pc:spChg chg="mod">
          <ac:chgData name="Marina Dragicevic Parot" userId="41bbd016-dea3-4f92-9ac7-37fe2e9521b0" providerId="ADAL" clId="{B0B5457C-028E-4BE3-A696-120104050809}" dt="2022-07-05T13:22:26.024" v="160" actId="12788"/>
          <ac:spMkLst>
            <pc:docMk/>
            <pc:sldMk cId="1964452394" sldId="1150"/>
            <ac:spMk id="59" creationId="{F4F4060E-A682-DFF6-7D85-26E8B729F9C0}"/>
          </ac:spMkLst>
        </pc:spChg>
        <pc:spChg chg="mod">
          <ac:chgData name="Marina Dragicevic Parot" userId="41bbd016-dea3-4f92-9ac7-37fe2e9521b0" providerId="ADAL" clId="{B0B5457C-028E-4BE3-A696-120104050809}" dt="2022-07-05T13:11:19.135" v="24" actId="1076"/>
          <ac:spMkLst>
            <pc:docMk/>
            <pc:sldMk cId="1964452394" sldId="1150"/>
            <ac:spMk id="74" creationId="{3406FE0F-1618-E81B-771E-3645E2081C9F}"/>
          </ac:spMkLst>
        </pc:spChg>
        <pc:spChg chg="mod">
          <ac:chgData name="Marina Dragicevic Parot" userId="41bbd016-dea3-4f92-9ac7-37fe2e9521b0" providerId="ADAL" clId="{B0B5457C-028E-4BE3-A696-120104050809}" dt="2022-07-05T13:11:19.135" v="24" actId="1076"/>
          <ac:spMkLst>
            <pc:docMk/>
            <pc:sldMk cId="1964452394" sldId="1150"/>
            <ac:spMk id="77" creationId="{3BD64804-9959-EE4F-DF10-F12B3C6B6F62}"/>
          </ac:spMkLst>
        </pc:spChg>
        <pc:spChg chg="mod">
          <ac:chgData name="Marina Dragicevic Parot" userId="41bbd016-dea3-4f92-9ac7-37fe2e9521b0" providerId="ADAL" clId="{B0B5457C-028E-4BE3-A696-120104050809}" dt="2022-07-05T13:11:19.135" v="24" actId="1076"/>
          <ac:spMkLst>
            <pc:docMk/>
            <pc:sldMk cId="1964452394" sldId="1150"/>
            <ac:spMk id="80" creationId="{A355AFE9-89BB-6CA5-065F-AE59D38B06A8}"/>
          </ac:spMkLst>
        </pc:spChg>
        <pc:spChg chg="mod">
          <ac:chgData name="Marina Dragicevic Parot" userId="41bbd016-dea3-4f92-9ac7-37fe2e9521b0" providerId="ADAL" clId="{B0B5457C-028E-4BE3-A696-120104050809}" dt="2022-07-05T13:22:26.024" v="160" actId="12788"/>
          <ac:spMkLst>
            <pc:docMk/>
            <pc:sldMk cId="1964452394" sldId="1150"/>
            <ac:spMk id="88" creationId="{D472EB40-9DAE-E6F0-6CF0-8A516BF04FA4}"/>
          </ac:spMkLst>
        </pc:spChg>
        <pc:spChg chg="mod">
          <ac:chgData name="Marina Dragicevic Parot" userId="41bbd016-dea3-4f92-9ac7-37fe2e9521b0" providerId="ADAL" clId="{B0B5457C-028E-4BE3-A696-120104050809}" dt="2022-07-05T13:22:26.024" v="160" actId="12788"/>
          <ac:spMkLst>
            <pc:docMk/>
            <pc:sldMk cId="1964452394" sldId="1150"/>
            <ac:spMk id="89" creationId="{F437F825-326F-311E-AABB-3C30CDD0231F}"/>
          </ac:spMkLst>
        </pc:spChg>
        <pc:spChg chg="mod">
          <ac:chgData name="Marina Dragicevic Parot" userId="41bbd016-dea3-4f92-9ac7-37fe2e9521b0" providerId="ADAL" clId="{B0B5457C-028E-4BE3-A696-120104050809}" dt="2022-07-05T13:22:26.024" v="160" actId="12788"/>
          <ac:spMkLst>
            <pc:docMk/>
            <pc:sldMk cId="1964452394" sldId="1150"/>
            <ac:spMk id="90" creationId="{E5314CA6-F7D0-BA7E-7B4F-52E3DF9A70F5}"/>
          </ac:spMkLst>
        </pc:spChg>
        <pc:spChg chg="mod">
          <ac:chgData name="Marina Dragicevic Parot" userId="41bbd016-dea3-4f92-9ac7-37fe2e9521b0" providerId="ADAL" clId="{B0B5457C-028E-4BE3-A696-120104050809}" dt="2022-07-05T13:11:19.135" v="24" actId="1076"/>
          <ac:spMkLst>
            <pc:docMk/>
            <pc:sldMk cId="1964452394" sldId="1150"/>
            <ac:spMk id="92" creationId="{78FA70AB-424D-DF33-A94A-4FB8292EE1AF}"/>
          </ac:spMkLst>
        </pc:spChg>
        <pc:spChg chg="mod">
          <ac:chgData name="Marina Dragicevic Parot" userId="41bbd016-dea3-4f92-9ac7-37fe2e9521b0" providerId="ADAL" clId="{B0B5457C-028E-4BE3-A696-120104050809}" dt="2022-07-05T13:11:19.135" v="24" actId="1076"/>
          <ac:spMkLst>
            <pc:docMk/>
            <pc:sldMk cId="1964452394" sldId="1150"/>
            <ac:spMk id="95" creationId="{19472035-E388-2F00-E853-28365E1C45A9}"/>
          </ac:spMkLst>
        </pc:spChg>
        <pc:spChg chg="mod">
          <ac:chgData name="Marina Dragicevic Parot" userId="41bbd016-dea3-4f92-9ac7-37fe2e9521b0" providerId="ADAL" clId="{B0B5457C-028E-4BE3-A696-120104050809}" dt="2022-07-05T13:11:19.135" v="24" actId="1076"/>
          <ac:spMkLst>
            <pc:docMk/>
            <pc:sldMk cId="1964452394" sldId="1150"/>
            <ac:spMk id="98" creationId="{0C9F5EF1-2336-3B95-DD5F-FFE6291B4F40}"/>
          </ac:spMkLst>
        </pc:spChg>
        <pc:spChg chg="mod">
          <ac:chgData name="Marina Dragicevic Parot" userId="41bbd016-dea3-4f92-9ac7-37fe2e9521b0" providerId="ADAL" clId="{B0B5457C-028E-4BE3-A696-120104050809}" dt="2022-07-05T13:22:26.024" v="160" actId="12788"/>
          <ac:spMkLst>
            <pc:docMk/>
            <pc:sldMk cId="1964452394" sldId="1150"/>
            <ac:spMk id="107" creationId="{BB7BB755-3365-4F2B-1653-8FFC5E57C627}"/>
          </ac:spMkLst>
        </pc:spChg>
        <pc:spChg chg="mod">
          <ac:chgData name="Marina Dragicevic Parot" userId="41bbd016-dea3-4f92-9ac7-37fe2e9521b0" providerId="ADAL" clId="{B0B5457C-028E-4BE3-A696-120104050809}" dt="2022-07-05T13:22:26.024" v="160" actId="12788"/>
          <ac:spMkLst>
            <pc:docMk/>
            <pc:sldMk cId="1964452394" sldId="1150"/>
            <ac:spMk id="109" creationId="{2C006AFA-78BF-F30B-B65A-1F9E772F5387}"/>
          </ac:spMkLst>
        </pc:spChg>
        <pc:spChg chg="mod">
          <ac:chgData name="Marina Dragicevic Parot" userId="41bbd016-dea3-4f92-9ac7-37fe2e9521b0" providerId="ADAL" clId="{B0B5457C-028E-4BE3-A696-120104050809}" dt="2022-07-05T13:22:38.793" v="161" actId="1076"/>
          <ac:spMkLst>
            <pc:docMk/>
            <pc:sldMk cId="1964452394" sldId="1150"/>
            <ac:spMk id="111" creationId="{E8F210FB-FCA2-71A8-8C4E-0B1AA80FF3AF}"/>
          </ac:spMkLst>
        </pc:spChg>
        <pc:spChg chg="mod">
          <ac:chgData name="Marina Dragicevic Parot" userId="41bbd016-dea3-4f92-9ac7-37fe2e9521b0" providerId="ADAL" clId="{B0B5457C-028E-4BE3-A696-120104050809}" dt="2022-07-05T13:22:38.793" v="161" actId="1076"/>
          <ac:spMkLst>
            <pc:docMk/>
            <pc:sldMk cId="1964452394" sldId="1150"/>
            <ac:spMk id="112" creationId="{FCEDAAA7-AE0E-B3A0-114E-36D4FFBAB3E7}"/>
          </ac:spMkLst>
        </pc:spChg>
        <pc:spChg chg="mod">
          <ac:chgData name="Marina Dragicevic Parot" userId="41bbd016-dea3-4f92-9ac7-37fe2e9521b0" providerId="ADAL" clId="{B0B5457C-028E-4BE3-A696-120104050809}" dt="2022-07-05T13:22:13.712" v="156" actId="12788"/>
          <ac:spMkLst>
            <pc:docMk/>
            <pc:sldMk cId="1964452394" sldId="1150"/>
            <ac:spMk id="114" creationId="{DDE09CE7-9319-C2AE-479F-06569D7E80BF}"/>
          </ac:spMkLst>
        </pc:spChg>
        <pc:spChg chg="mod">
          <ac:chgData name="Marina Dragicevic Parot" userId="41bbd016-dea3-4f92-9ac7-37fe2e9521b0" providerId="ADAL" clId="{B0B5457C-028E-4BE3-A696-120104050809}" dt="2022-07-05T13:22:21.583" v="159" actId="12788"/>
          <ac:spMkLst>
            <pc:docMk/>
            <pc:sldMk cId="1964452394" sldId="1150"/>
            <ac:spMk id="115" creationId="{7E1293A0-D977-18AE-93CB-4AB474D427DE}"/>
          </ac:spMkLst>
        </pc:spChg>
        <pc:spChg chg="mod">
          <ac:chgData name="Marina Dragicevic Parot" userId="41bbd016-dea3-4f92-9ac7-37fe2e9521b0" providerId="ADAL" clId="{B0B5457C-028E-4BE3-A696-120104050809}" dt="2022-07-05T13:22:26.024" v="160" actId="12788"/>
          <ac:spMkLst>
            <pc:docMk/>
            <pc:sldMk cId="1964452394" sldId="1150"/>
            <ac:spMk id="116" creationId="{415520FB-1BCF-CC5A-B6D6-E43254A81BEE}"/>
          </ac:spMkLst>
        </pc:spChg>
        <pc:spChg chg="mod">
          <ac:chgData name="Marina Dragicevic Parot" userId="41bbd016-dea3-4f92-9ac7-37fe2e9521b0" providerId="ADAL" clId="{B0B5457C-028E-4BE3-A696-120104050809}" dt="2022-07-05T13:22:38.793" v="161" actId="1076"/>
          <ac:spMkLst>
            <pc:docMk/>
            <pc:sldMk cId="1964452394" sldId="1150"/>
            <ac:spMk id="117" creationId="{91017416-D1CE-89FE-6700-6475FE3FCDC8}"/>
          </ac:spMkLst>
        </pc:spChg>
        <pc:grpChg chg="add mod">
          <ac:chgData name="Marina Dragicevic Parot" userId="41bbd016-dea3-4f92-9ac7-37fe2e9521b0" providerId="ADAL" clId="{B0B5457C-028E-4BE3-A696-120104050809}" dt="2022-07-05T13:22:13.712" v="156" actId="12788"/>
          <ac:grpSpMkLst>
            <pc:docMk/>
            <pc:sldMk cId="1964452394" sldId="1150"/>
            <ac:grpSpMk id="2" creationId="{32FBBB14-9692-A1B4-E2BB-5973FC51A4BE}"/>
          </ac:grpSpMkLst>
        </pc:grpChg>
        <pc:grpChg chg="add mod">
          <ac:chgData name="Marina Dragicevic Parot" userId="41bbd016-dea3-4f92-9ac7-37fe2e9521b0" providerId="ADAL" clId="{B0B5457C-028E-4BE3-A696-120104050809}" dt="2022-07-05T13:22:38.793" v="161" actId="1076"/>
          <ac:grpSpMkLst>
            <pc:docMk/>
            <pc:sldMk cId="1964452394" sldId="1150"/>
            <ac:grpSpMk id="3" creationId="{B9B84B1F-A93F-BAE1-9DBA-223DEFF3E1C5}"/>
          </ac:grpSpMkLst>
        </pc:grpChg>
        <pc:grpChg chg="add mod">
          <ac:chgData name="Marina Dragicevic Parot" userId="41bbd016-dea3-4f92-9ac7-37fe2e9521b0" providerId="ADAL" clId="{B0B5457C-028E-4BE3-A696-120104050809}" dt="2022-07-05T13:22:21.583" v="159" actId="12788"/>
          <ac:grpSpMkLst>
            <pc:docMk/>
            <pc:sldMk cId="1964452394" sldId="1150"/>
            <ac:grpSpMk id="4" creationId="{CFD3DD9E-0BF9-CF31-E727-783EC53BE8EF}"/>
          </ac:grpSpMkLst>
        </pc:grpChg>
        <pc:grpChg chg="mod">
          <ac:chgData name="Marina Dragicevic Parot" userId="41bbd016-dea3-4f92-9ac7-37fe2e9521b0" providerId="ADAL" clId="{B0B5457C-028E-4BE3-A696-120104050809}" dt="2022-07-05T13:22:08.639" v="155" actId="164"/>
          <ac:grpSpMkLst>
            <pc:docMk/>
            <pc:sldMk cId="1964452394" sldId="1150"/>
            <ac:grpSpMk id="73" creationId="{95A5D2C9-5DCE-BA7A-C01A-D389D3D90207}"/>
          </ac:grpSpMkLst>
        </pc:grpChg>
        <pc:grpChg chg="mod">
          <ac:chgData name="Marina Dragicevic Parot" userId="41bbd016-dea3-4f92-9ac7-37fe2e9521b0" providerId="ADAL" clId="{B0B5457C-028E-4BE3-A696-120104050809}" dt="2022-07-05T13:22:08.639" v="155" actId="164"/>
          <ac:grpSpMkLst>
            <pc:docMk/>
            <pc:sldMk cId="1964452394" sldId="1150"/>
            <ac:grpSpMk id="76" creationId="{601635EE-D544-F0AD-7F70-0E3A7A613525}"/>
          </ac:grpSpMkLst>
        </pc:grpChg>
        <pc:grpChg chg="mod">
          <ac:chgData name="Marina Dragicevic Parot" userId="41bbd016-dea3-4f92-9ac7-37fe2e9521b0" providerId="ADAL" clId="{B0B5457C-028E-4BE3-A696-120104050809}" dt="2022-07-05T13:22:08.639" v="155" actId="164"/>
          <ac:grpSpMkLst>
            <pc:docMk/>
            <pc:sldMk cId="1964452394" sldId="1150"/>
            <ac:grpSpMk id="79" creationId="{8F7C48E2-7353-E6CD-1D23-EDE904C63EFD}"/>
          </ac:grpSpMkLst>
        </pc:grpChg>
        <pc:grpChg chg="mod">
          <ac:chgData name="Marina Dragicevic Parot" userId="41bbd016-dea3-4f92-9ac7-37fe2e9521b0" providerId="ADAL" clId="{B0B5457C-028E-4BE3-A696-120104050809}" dt="2022-07-05T13:22:00.006" v="153" actId="164"/>
          <ac:grpSpMkLst>
            <pc:docMk/>
            <pc:sldMk cId="1964452394" sldId="1150"/>
            <ac:grpSpMk id="91" creationId="{2EF9B154-EBC7-3FD5-1B95-BF04FAC0B133}"/>
          </ac:grpSpMkLst>
        </pc:grpChg>
        <pc:grpChg chg="mod">
          <ac:chgData name="Marina Dragicevic Parot" userId="41bbd016-dea3-4f92-9ac7-37fe2e9521b0" providerId="ADAL" clId="{B0B5457C-028E-4BE3-A696-120104050809}" dt="2022-07-05T13:22:00.006" v="153" actId="164"/>
          <ac:grpSpMkLst>
            <pc:docMk/>
            <pc:sldMk cId="1964452394" sldId="1150"/>
            <ac:grpSpMk id="94" creationId="{32B2C0DE-CAAC-50EE-BB4F-723C7964E16D}"/>
          </ac:grpSpMkLst>
        </pc:grpChg>
        <pc:grpChg chg="mod">
          <ac:chgData name="Marina Dragicevic Parot" userId="41bbd016-dea3-4f92-9ac7-37fe2e9521b0" providerId="ADAL" clId="{B0B5457C-028E-4BE3-A696-120104050809}" dt="2022-07-05T13:22:00.006" v="153" actId="164"/>
          <ac:grpSpMkLst>
            <pc:docMk/>
            <pc:sldMk cId="1964452394" sldId="1150"/>
            <ac:grpSpMk id="97" creationId="{40C04E5A-8A32-2299-2A9E-E9262E2302D3}"/>
          </ac:grpSpMkLst>
        </pc:grpChg>
        <pc:grpChg chg="mod">
          <ac:chgData name="Marina Dragicevic Parot" userId="41bbd016-dea3-4f92-9ac7-37fe2e9521b0" providerId="ADAL" clId="{B0B5457C-028E-4BE3-A696-120104050809}" dt="2022-07-05T13:22:26.024" v="160" actId="12788"/>
          <ac:grpSpMkLst>
            <pc:docMk/>
            <pc:sldMk cId="1964452394" sldId="1150"/>
            <ac:grpSpMk id="106" creationId="{7DB59B7F-D84C-96BB-5739-0638A79EFC39}"/>
          </ac:grpSpMkLst>
        </pc:grpChg>
        <pc:grpChg chg="mod">
          <ac:chgData name="Marina Dragicevic Parot" userId="41bbd016-dea3-4f92-9ac7-37fe2e9521b0" providerId="ADAL" clId="{B0B5457C-028E-4BE3-A696-120104050809}" dt="2022-07-05T13:22:38.793" v="161" actId="1076"/>
          <ac:grpSpMkLst>
            <pc:docMk/>
            <pc:sldMk cId="1964452394" sldId="1150"/>
            <ac:grpSpMk id="110" creationId="{133BB098-EAD5-8DF7-CC7D-7924307B4CF6}"/>
          </ac:grpSpMkLst>
        </pc:grpChg>
        <pc:picChg chg="mod">
          <ac:chgData name="Marina Dragicevic Parot" userId="41bbd016-dea3-4f92-9ac7-37fe2e9521b0" providerId="ADAL" clId="{B0B5457C-028E-4BE3-A696-120104050809}" dt="2022-07-05T13:22:38.793" v="161" actId="1076"/>
          <ac:picMkLst>
            <pc:docMk/>
            <pc:sldMk cId="1964452394" sldId="1150"/>
            <ac:picMk id="48" creationId="{EA5F1A8C-694A-1BFE-3A36-E4B3D61E097D}"/>
          </ac:picMkLst>
        </pc:picChg>
        <pc:picChg chg="mod">
          <ac:chgData name="Marina Dragicevic Parot" userId="41bbd016-dea3-4f92-9ac7-37fe2e9521b0" providerId="ADAL" clId="{B0B5457C-028E-4BE3-A696-120104050809}" dt="2022-07-05T13:22:26.024" v="160" actId="12788"/>
          <ac:picMkLst>
            <pc:docMk/>
            <pc:sldMk cId="1964452394" sldId="1150"/>
            <ac:picMk id="58" creationId="{9E116E69-4D11-C126-E196-2D9F210B8540}"/>
          </ac:picMkLst>
        </pc:picChg>
        <pc:picChg chg="mod">
          <ac:chgData name="Marina Dragicevic Parot" userId="41bbd016-dea3-4f92-9ac7-37fe2e9521b0" providerId="ADAL" clId="{B0B5457C-028E-4BE3-A696-120104050809}" dt="2022-07-05T13:11:19.135" v="24" actId="1076"/>
          <ac:picMkLst>
            <pc:docMk/>
            <pc:sldMk cId="1964452394" sldId="1150"/>
            <ac:picMk id="75" creationId="{B192ECA1-86D5-D001-A61E-B9EFFF64D850}"/>
          </ac:picMkLst>
        </pc:picChg>
        <pc:picChg chg="mod">
          <ac:chgData name="Marina Dragicevic Parot" userId="41bbd016-dea3-4f92-9ac7-37fe2e9521b0" providerId="ADAL" clId="{B0B5457C-028E-4BE3-A696-120104050809}" dt="2022-07-05T13:11:19.135" v="24" actId="1076"/>
          <ac:picMkLst>
            <pc:docMk/>
            <pc:sldMk cId="1964452394" sldId="1150"/>
            <ac:picMk id="78" creationId="{FE628496-9C92-D7AC-F20E-F207AA92D958}"/>
          </ac:picMkLst>
        </pc:picChg>
        <pc:picChg chg="mod">
          <ac:chgData name="Marina Dragicevic Parot" userId="41bbd016-dea3-4f92-9ac7-37fe2e9521b0" providerId="ADAL" clId="{B0B5457C-028E-4BE3-A696-120104050809}" dt="2022-07-05T13:11:19.135" v="24" actId="1076"/>
          <ac:picMkLst>
            <pc:docMk/>
            <pc:sldMk cId="1964452394" sldId="1150"/>
            <ac:picMk id="81" creationId="{442A1003-1ED2-F46F-B32F-985C044EA715}"/>
          </ac:picMkLst>
        </pc:picChg>
        <pc:picChg chg="mod">
          <ac:chgData name="Marina Dragicevic Parot" userId="41bbd016-dea3-4f92-9ac7-37fe2e9521b0" providerId="ADAL" clId="{B0B5457C-028E-4BE3-A696-120104050809}" dt="2022-07-05T13:22:02.959" v="154" actId="164"/>
          <ac:picMkLst>
            <pc:docMk/>
            <pc:sldMk cId="1964452394" sldId="1150"/>
            <ac:picMk id="82" creationId="{C3E0E894-7F6F-4686-176F-2356DD79B6F3}"/>
          </ac:picMkLst>
        </pc:picChg>
        <pc:picChg chg="mod">
          <ac:chgData name="Marina Dragicevic Parot" userId="41bbd016-dea3-4f92-9ac7-37fe2e9521b0" providerId="ADAL" clId="{B0B5457C-028E-4BE3-A696-120104050809}" dt="2022-07-05T13:22:02.959" v="154" actId="164"/>
          <ac:picMkLst>
            <pc:docMk/>
            <pc:sldMk cId="1964452394" sldId="1150"/>
            <ac:picMk id="84" creationId="{9B42C1E7-9D49-6550-02E5-FA55144DA056}"/>
          </ac:picMkLst>
        </pc:picChg>
        <pc:picChg chg="mod">
          <ac:chgData name="Marina Dragicevic Parot" userId="41bbd016-dea3-4f92-9ac7-37fe2e9521b0" providerId="ADAL" clId="{B0B5457C-028E-4BE3-A696-120104050809}" dt="2022-07-05T13:11:19.135" v="24" actId="1076"/>
          <ac:picMkLst>
            <pc:docMk/>
            <pc:sldMk cId="1964452394" sldId="1150"/>
            <ac:picMk id="93" creationId="{C87EBFB9-5851-EBD9-1A75-5CD5BCA70314}"/>
          </ac:picMkLst>
        </pc:picChg>
        <pc:picChg chg="mod">
          <ac:chgData name="Marina Dragicevic Parot" userId="41bbd016-dea3-4f92-9ac7-37fe2e9521b0" providerId="ADAL" clId="{B0B5457C-028E-4BE3-A696-120104050809}" dt="2022-07-05T13:11:19.135" v="24" actId="1076"/>
          <ac:picMkLst>
            <pc:docMk/>
            <pc:sldMk cId="1964452394" sldId="1150"/>
            <ac:picMk id="96" creationId="{01FA5338-C17F-18AF-9E79-E6E0623BDF85}"/>
          </ac:picMkLst>
        </pc:picChg>
        <pc:picChg chg="mod">
          <ac:chgData name="Marina Dragicevic Parot" userId="41bbd016-dea3-4f92-9ac7-37fe2e9521b0" providerId="ADAL" clId="{B0B5457C-028E-4BE3-A696-120104050809}" dt="2022-07-05T13:11:19.135" v="24" actId="1076"/>
          <ac:picMkLst>
            <pc:docMk/>
            <pc:sldMk cId="1964452394" sldId="1150"/>
            <ac:picMk id="99" creationId="{6997D4B2-136E-E153-DB10-C8424A935916}"/>
          </ac:picMkLst>
        </pc:picChg>
        <pc:picChg chg="mod">
          <ac:chgData name="Marina Dragicevic Parot" userId="41bbd016-dea3-4f92-9ac7-37fe2e9521b0" providerId="ADAL" clId="{B0B5457C-028E-4BE3-A696-120104050809}" dt="2022-07-05T13:22:26.024" v="160" actId="12788"/>
          <ac:picMkLst>
            <pc:docMk/>
            <pc:sldMk cId="1964452394" sldId="1150"/>
            <ac:picMk id="108" creationId="{7AFA612A-62A3-881D-9FB4-AEE39F915CAD}"/>
          </ac:picMkLst>
        </pc:picChg>
      </pc:sldChg>
      <pc:sldChg chg="modSp mod ord">
        <pc:chgData name="Marina Dragicevic Parot" userId="41bbd016-dea3-4f92-9ac7-37fe2e9521b0" providerId="ADAL" clId="{B0B5457C-028E-4BE3-A696-120104050809}" dt="2022-07-05T13:27:47.888" v="227" actId="1076"/>
        <pc:sldMkLst>
          <pc:docMk/>
          <pc:sldMk cId="1162222932" sldId="1152"/>
        </pc:sldMkLst>
        <pc:spChg chg="mod">
          <ac:chgData name="Marina Dragicevic Parot" userId="41bbd016-dea3-4f92-9ac7-37fe2e9521b0" providerId="ADAL" clId="{B0B5457C-028E-4BE3-A696-120104050809}" dt="2022-07-05T13:24:47.492" v="190" actId="1076"/>
          <ac:spMkLst>
            <pc:docMk/>
            <pc:sldMk cId="1162222932" sldId="1152"/>
            <ac:spMk id="101" creationId="{1E2028A8-328F-778B-944E-62C0B6AFA9AF}"/>
          </ac:spMkLst>
        </pc:spChg>
        <pc:spChg chg="mod">
          <ac:chgData name="Marina Dragicevic Parot" userId="41bbd016-dea3-4f92-9ac7-37fe2e9521b0" providerId="ADAL" clId="{B0B5457C-028E-4BE3-A696-120104050809}" dt="2022-07-05T13:24:51.016" v="191" actId="1076"/>
          <ac:spMkLst>
            <pc:docMk/>
            <pc:sldMk cId="1162222932" sldId="1152"/>
            <ac:spMk id="128" creationId="{0528395A-3713-8E39-1B75-4720F61E11EA}"/>
          </ac:spMkLst>
        </pc:spChg>
        <pc:grpChg chg="mod">
          <ac:chgData name="Marina Dragicevic Parot" userId="41bbd016-dea3-4f92-9ac7-37fe2e9521b0" providerId="ADAL" clId="{B0B5457C-028E-4BE3-A696-120104050809}" dt="2022-07-05T13:27:42.777" v="226" actId="1076"/>
          <ac:grpSpMkLst>
            <pc:docMk/>
            <pc:sldMk cId="1162222932" sldId="1152"/>
            <ac:grpSpMk id="94" creationId="{F986E4EF-4269-97D2-626B-6D76C195C445}"/>
          </ac:grpSpMkLst>
        </pc:grpChg>
        <pc:grpChg chg="mod">
          <ac:chgData name="Marina Dragicevic Parot" userId="41bbd016-dea3-4f92-9ac7-37fe2e9521b0" providerId="ADAL" clId="{B0B5457C-028E-4BE3-A696-120104050809}" dt="2022-07-05T13:27:47.888" v="227" actId="1076"/>
          <ac:grpSpMkLst>
            <pc:docMk/>
            <pc:sldMk cId="1162222932" sldId="1152"/>
            <ac:grpSpMk id="97" creationId="{AAF5DE72-DD81-E48C-7F30-5E28BB3739E4}"/>
          </ac:grpSpMkLst>
        </pc:grpChg>
      </pc:sldChg>
      <pc:sldChg chg="modSp mod">
        <pc:chgData name="Marina Dragicevic Parot" userId="41bbd016-dea3-4f92-9ac7-37fe2e9521b0" providerId="ADAL" clId="{B0B5457C-028E-4BE3-A696-120104050809}" dt="2022-07-05T13:18:59.065" v="105" actId="113"/>
        <pc:sldMkLst>
          <pc:docMk/>
          <pc:sldMk cId="2048557805" sldId="1153"/>
        </pc:sldMkLst>
        <pc:spChg chg="mod">
          <ac:chgData name="Marina Dragicevic Parot" userId="41bbd016-dea3-4f92-9ac7-37fe2e9521b0" providerId="ADAL" clId="{B0B5457C-028E-4BE3-A696-120104050809}" dt="2022-07-05T13:08:17.289" v="9" actId="207"/>
          <ac:spMkLst>
            <pc:docMk/>
            <pc:sldMk cId="2048557805" sldId="1153"/>
            <ac:spMk id="204" creationId="{F74E82E3-1F29-38B4-FE99-F82EC67D5C68}"/>
          </ac:spMkLst>
        </pc:spChg>
        <pc:spChg chg="mod">
          <ac:chgData name="Marina Dragicevic Parot" userId="41bbd016-dea3-4f92-9ac7-37fe2e9521b0" providerId="ADAL" clId="{B0B5457C-028E-4BE3-A696-120104050809}" dt="2022-07-05T13:08:17.289" v="9" actId="207"/>
          <ac:spMkLst>
            <pc:docMk/>
            <pc:sldMk cId="2048557805" sldId="1153"/>
            <ac:spMk id="205" creationId="{7D8F5BC0-8A4C-353E-AE25-E8BFE1E3DA69}"/>
          </ac:spMkLst>
        </pc:spChg>
        <pc:spChg chg="mod">
          <ac:chgData name="Marina Dragicevic Parot" userId="41bbd016-dea3-4f92-9ac7-37fe2e9521b0" providerId="ADAL" clId="{B0B5457C-028E-4BE3-A696-120104050809}" dt="2022-07-05T13:08:17.289" v="9" actId="207"/>
          <ac:spMkLst>
            <pc:docMk/>
            <pc:sldMk cId="2048557805" sldId="1153"/>
            <ac:spMk id="206" creationId="{960CCB02-3D75-2D89-B6BD-43354C38A727}"/>
          </ac:spMkLst>
        </pc:spChg>
        <pc:spChg chg="mod">
          <ac:chgData name="Marina Dragicevic Parot" userId="41bbd016-dea3-4f92-9ac7-37fe2e9521b0" providerId="ADAL" clId="{B0B5457C-028E-4BE3-A696-120104050809}" dt="2022-07-05T13:08:17.289" v="9" actId="207"/>
          <ac:spMkLst>
            <pc:docMk/>
            <pc:sldMk cId="2048557805" sldId="1153"/>
            <ac:spMk id="207" creationId="{9E997A43-09C1-BCF6-AB4B-526C780BEC9B}"/>
          </ac:spMkLst>
        </pc:spChg>
        <pc:spChg chg="mod">
          <ac:chgData name="Marina Dragicevic Parot" userId="41bbd016-dea3-4f92-9ac7-37fe2e9521b0" providerId="ADAL" clId="{B0B5457C-028E-4BE3-A696-120104050809}" dt="2022-07-05T13:08:17.289" v="9" actId="207"/>
          <ac:spMkLst>
            <pc:docMk/>
            <pc:sldMk cId="2048557805" sldId="1153"/>
            <ac:spMk id="208" creationId="{1E374761-FF62-022B-1FB5-9C6AB4DBFC7E}"/>
          </ac:spMkLst>
        </pc:spChg>
        <pc:spChg chg="mod">
          <ac:chgData name="Marina Dragicevic Parot" userId="41bbd016-dea3-4f92-9ac7-37fe2e9521b0" providerId="ADAL" clId="{B0B5457C-028E-4BE3-A696-120104050809}" dt="2022-07-05T13:08:17.289" v="9" actId="207"/>
          <ac:spMkLst>
            <pc:docMk/>
            <pc:sldMk cId="2048557805" sldId="1153"/>
            <ac:spMk id="209" creationId="{B60F5EAA-412B-B8B6-93D8-B25BFFA36F70}"/>
          </ac:spMkLst>
        </pc:spChg>
        <pc:spChg chg="mod">
          <ac:chgData name="Marina Dragicevic Parot" userId="41bbd016-dea3-4f92-9ac7-37fe2e9521b0" providerId="ADAL" clId="{B0B5457C-028E-4BE3-A696-120104050809}" dt="2022-07-05T13:18:59.065" v="105" actId="113"/>
          <ac:spMkLst>
            <pc:docMk/>
            <pc:sldMk cId="2048557805" sldId="1153"/>
            <ac:spMk id="248" creationId="{4FDABD72-BC2E-70F7-2D96-795F20E1543A}"/>
          </ac:spMkLst>
        </pc:spChg>
      </pc:sldChg>
      <pc:sldChg chg="modSp mod">
        <pc:chgData name="Marina Dragicevic Parot" userId="41bbd016-dea3-4f92-9ac7-37fe2e9521b0" providerId="ADAL" clId="{B0B5457C-028E-4BE3-A696-120104050809}" dt="2022-07-05T13:26:45.274" v="225" actId="1076"/>
        <pc:sldMkLst>
          <pc:docMk/>
          <pc:sldMk cId="914876002" sldId="1156"/>
        </pc:sldMkLst>
        <pc:spChg chg="mod">
          <ac:chgData name="Marina Dragicevic Parot" userId="41bbd016-dea3-4f92-9ac7-37fe2e9521b0" providerId="ADAL" clId="{B0B5457C-028E-4BE3-A696-120104050809}" dt="2022-07-05T13:26:31.752" v="224" actId="113"/>
          <ac:spMkLst>
            <pc:docMk/>
            <pc:sldMk cId="914876002" sldId="1156"/>
            <ac:spMk id="37" creationId="{CF41EB2A-5F4A-62D8-7CD5-C7EAE02B58E5}"/>
          </ac:spMkLst>
        </pc:spChg>
        <pc:spChg chg="mod">
          <ac:chgData name="Marina Dragicevic Parot" userId="41bbd016-dea3-4f92-9ac7-37fe2e9521b0" providerId="ADAL" clId="{B0B5457C-028E-4BE3-A696-120104050809}" dt="2022-07-05T13:26:45.274" v="225" actId="1076"/>
          <ac:spMkLst>
            <pc:docMk/>
            <pc:sldMk cId="914876002" sldId="1156"/>
            <ac:spMk id="39" creationId="{B68CB00D-4A76-B803-3306-49ACCAADEE18}"/>
          </ac:spMkLst>
        </pc:spChg>
        <pc:spChg chg="mod">
          <ac:chgData name="Marina Dragicevic Parot" userId="41bbd016-dea3-4f92-9ac7-37fe2e9521b0" providerId="ADAL" clId="{B0B5457C-028E-4BE3-A696-120104050809}" dt="2022-07-05T13:07:36.714" v="6" actId="1076"/>
          <ac:spMkLst>
            <pc:docMk/>
            <pc:sldMk cId="914876002" sldId="1156"/>
            <ac:spMk id="43" creationId="{85180362-F645-1D1F-9F26-68F67F9A8834}"/>
          </ac:spMkLst>
        </pc:spChg>
        <pc:spChg chg="mod">
          <ac:chgData name="Marina Dragicevic Parot" userId="41bbd016-dea3-4f92-9ac7-37fe2e9521b0" providerId="ADAL" clId="{B0B5457C-028E-4BE3-A696-120104050809}" dt="2022-07-05T13:26:45.274" v="225" actId="1076"/>
          <ac:spMkLst>
            <pc:docMk/>
            <pc:sldMk cId="914876002" sldId="1156"/>
            <ac:spMk id="123" creationId="{D804E030-276E-D44A-5C1B-1591F350F9F6}"/>
          </ac:spMkLst>
        </pc:s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2" creationId="{8A9A5EDB-2493-4481-EFD2-0B226A5257E1}"/>
          </ac:grpSpMkLst>
        </pc:gr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3" creationId="{923A6258-0210-1F69-CC25-530BF61A1B37}"/>
          </ac:grpSpMkLst>
        </pc:gr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5" creationId="{3E489035-5742-E047-9A7C-56CB83B7C1AB}"/>
          </ac:grpSpMkLst>
        </pc:gr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41" creationId="{46A6835E-A72A-D938-0514-0EFF939EBC1D}"/>
          </ac:grpSpMkLst>
        </pc:gr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49" creationId="{D6819543-977A-256C-ED1B-9283CD4D76CF}"/>
          </ac:grpSpMkLst>
        </pc:gr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60" creationId="{C752A016-73C1-10FB-4269-5C7158BC18EB}"/>
          </ac:grpSpMkLst>
        </pc:gr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64" creationId="{01C35F59-5B12-D326-67B6-4FAB0DDEF43C}"/>
          </ac:grpSpMkLst>
        </pc:gr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85" creationId="{35479154-4637-3E09-5705-9562A72E128C}"/>
          </ac:grpSpMkLst>
        </pc:gr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100" creationId="{63F887B5-5E31-3E39-14A3-9F814ACC3B24}"/>
          </ac:grpSpMkLst>
        </pc:grpChg>
        <pc:grpChg chg="mod">
          <ac:chgData name="Marina Dragicevic Parot" userId="41bbd016-dea3-4f92-9ac7-37fe2e9521b0" providerId="ADAL" clId="{B0B5457C-028E-4BE3-A696-120104050809}" dt="2022-07-05T13:18:50.052" v="104" actId="1076"/>
          <ac:grpSpMkLst>
            <pc:docMk/>
            <pc:sldMk cId="914876002" sldId="1156"/>
            <ac:grpSpMk id="125" creationId="{AF04859E-93A1-4E24-18AD-C7DA4A8AEACF}"/>
          </ac:grpSpMkLst>
        </pc:grpChg>
        <pc:picChg chg="mod">
          <ac:chgData name="Marina Dragicevic Parot" userId="41bbd016-dea3-4f92-9ac7-37fe2e9521b0" providerId="ADAL" clId="{B0B5457C-028E-4BE3-A696-120104050809}" dt="2022-07-05T13:07:17.404" v="2" actId="1076"/>
          <ac:picMkLst>
            <pc:docMk/>
            <pc:sldMk cId="914876002" sldId="1156"/>
            <ac:picMk id="47" creationId="{D75D19AA-6F25-0832-1CC7-27949BE5856A}"/>
          </ac:picMkLst>
        </pc:picChg>
      </pc:sldChg>
      <pc:sldChg chg="del">
        <pc:chgData name="Marina Dragicevic Parot" userId="41bbd016-dea3-4f92-9ac7-37fe2e9521b0" providerId="ADAL" clId="{B0B5457C-028E-4BE3-A696-120104050809}" dt="2022-07-05T13:09:11.366" v="12" actId="47"/>
        <pc:sldMkLst>
          <pc:docMk/>
          <pc:sldMk cId="2976143275" sldId="1165"/>
        </pc:sldMkLst>
      </pc:sldChg>
      <pc:sldChg chg="addSp delSp modSp mod">
        <pc:chgData name="Marina Dragicevic Parot" userId="41bbd016-dea3-4f92-9ac7-37fe2e9521b0" providerId="ADAL" clId="{B0B5457C-028E-4BE3-A696-120104050809}" dt="2022-07-05T13:37:18.661" v="233"/>
        <pc:sldMkLst>
          <pc:docMk/>
          <pc:sldMk cId="2114824921" sldId="1173"/>
        </pc:sldMkLst>
        <pc:spChg chg="mod">
          <ac:chgData name="Marina Dragicevic Parot" userId="41bbd016-dea3-4f92-9ac7-37fe2e9521b0" providerId="ADAL" clId="{B0B5457C-028E-4BE3-A696-120104050809}" dt="2022-07-05T13:14:47.247" v="82" actId="1076"/>
          <ac:spMkLst>
            <pc:docMk/>
            <pc:sldMk cId="2114824921" sldId="1173"/>
            <ac:spMk id="11" creationId="{FA46E37E-15FD-F1A9-D261-F4F5B32171F3}"/>
          </ac:spMkLst>
        </pc:spChg>
        <pc:spChg chg="mod">
          <ac:chgData name="Marina Dragicevic Parot" userId="41bbd016-dea3-4f92-9ac7-37fe2e9521b0" providerId="ADAL" clId="{B0B5457C-028E-4BE3-A696-120104050809}" dt="2022-07-05T13:15:22.437" v="89" actId="1076"/>
          <ac:spMkLst>
            <pc:docMk/>
            <pc:sldMk cId="2114824921" sldId="1173"/>
            <ac:spMk id="20" creationId="{ACDE8D3A-C79A-E559-5ECE-928928134A5E}"/>
          </ac:spMkLst>
        </pc:spChg>
        <pc:spChg chg="mod">
          <ac:chgData name="Marina Dragicevic Parot" userId="41bbd016-dea3-4f92-9ac7-37fe2e9521b0" providerId="ADAL" clId="{B0B5457C-028E-4BE3-A696-120104050809}" dt="2022-07-05T13:14:31.175" v="79" actId="1076"/>
          <ac:spMkLst>
            <pc:docMk/>
            <pc:sldMk cId="2114824921" sldId="1173"/>
            <ac:spMk id="23" creationId="{C486AEAD-A272-384A-5E28-C2C34BE02C84}"/>
          </ac:spMkLst>
        </pc:spChg>
        <pc:spChg chg="mod">
          <ac:chgData name="Marina Dragicevic Parot" userId="41bbd016-dea3-4f92-9ac7-37fe2e9521b0" providerId="ADAL" clId="{B0B5457C-028E-4BE3-A696-120104050809}" dt="2022-07-05T13:14:35.183" v="80" actId="1076"/>
          <ac:spMkLst>
            <pc:docMk/>
            <pc:sldMk cId="2114824921" sldId="1173"/>
            <ac:spMk id="24" creationId="{E6CB00E6-7521-9F71-ECA7-AC1DCBBAEED2}"/>
          </ac:spMkLst>
        </pc:spChg>
        <pc:spChg chg="del mod">
          <ac:chgData name="Marina Dragicevic Parot" userId="41bbd016-dea3-4f92-9ac7-37fe2e9521b0" providerId="ADAL" clId="{B0B5457C-028E-4BE3-A696-120104050809}" dt="2022-07-05T13:12:14.878" v="33" actId="478"/>
          <ac:spMkLst>
            <pc:docMk/>
            <pc:sldMk cId="2114824921" sldId="1173"/>
            <ac:spMk id="26" creationId="{07D5B2C1-449D-60E8-95B8-2EB4D789C495}"/>
          </ac:spMkLst>
        </pc:spChg>
        <pc:spChg chg="mod">
          <ac:chgData name="Marina Dragicevic Parot" userId="41bbd016-dea3-4f92-9ac7-37fe2e9521b0" providerId="ADAL" clId="{B0B5457C-028E-4BE3-A696-120104050809}" dt="2022-07-05T13:15:28.131" v="91" actId="1076"/>
          <ac:spMkLst>
            <pc:docMk/>
            <pc:sldMk cId="2114824921" sldId="1173"/>
            <ac:spMk id="32" creationId="{89E8B1BD-0E1B-2961-32A5-36BAD9FD024A}"/>
          </ac:spMkLst>
        </pc:spChg>
        <pc:spChg chg="mod">
          <ac:chgData name="Marina Dragicevic Parot" userId="41bbd016-dea3-4f92-9ac7-37fe2e9521b0" providerId="ADAL" clId="{B0B5457C-028E-4BE3-A696-120104050809}" dt="2022-07-05T13:17:53.886" v="100" actId="14100"/>
          <ac:spMkLst>
            <pc:docMk/>
            <pc:sldMk cId="2114824921" sldId="1173"/>
            <ac:spMk id="34" creationId="{4E66E1DD-328D-3A95-697C-8F884D9F8666}"/>
          </ac:spMkLst>
        </pc:spChg>
        <pc:spChg chg="mod">
          <ac:chgData name="Marina Dragicevic Parot" userId="41bbd016-dea3-4f92-9ac7-37fe2e9521b0" providerId="ADAL" clId="{B0B5457C-028E-4BE3-A696-120104050809}" dt="2022-07-05T13:15:01.888" v="85" actId="1076"/>
          <ac:spMkLst>
            <pc:docMk/>
            <pc:sldMk cId="2114824921" sldId="1173"/>
            <ac:spMk id="36" creationId="{4AEC30F0-097B-2ACB-E651-FC0D574377DE}"/>
          </ac:spMkLst>
        </pc:spChg>
        <pc:spChg chg="mod">
          <ac:chgData name="Marina Dragicevic Parot" userId="41bbd016-dea3-4f92-9ac7-37fe2e9521b0" providerId="ADAL" clId="{B0B5457C-028E-4BE3-A696-120104050809}" dt="2022-07-05T13:13:11.164" v="68" actId="1076"/>
          <ac:spMkLst>
            <pc:docMk/>
            <pc:sldMk cId="2114824921" sldId="1173"/>
            <ac:spMk id="38" creationId="{D3CF2C16-9799-AABC-A388-586FC515D694}"/>
          </ac:spMkLst>
        </pc:spChg>
        <pc:spChg chg="mod">
          <ac:chgData name="Marina Dragicevic Parot" userId="41bbd016-dea3-4f92-9ac7-37fe2e9521b0" providerId="ADAL" clId="{B0B5457C-028E-4BE3-A696-120104050809}" dt="2022-07-05T13:13:39.955" v="77" actId="1076"/>
          <ac:spMkLst>
            <pc:docMk/>
            <pc:sldMk cId="2114824921" sldId="1173"/>
            <ac:spMk id="40" creationId="{1AEFB941-62C1-6EC8-36A5-97A45986B178}"/>
          </ac:spMkLst>
        </pc:spChg>
        <pc:spChg chg="mod">
          <ac:chgData name="Marina Dragicevic Parot" userId="41bbd016-dea3-4f92-9ac7-37fe2e9521b0" providerId="ADAL" clId="{B0B5457C-028E-4BE3-A696-120104050809}" dt="2022-07-05T13:13:26.056" v="72" actId="1076"/>
          <ac:spMkLst>
            <pc:docMk/>
            <pc:sldMk cId="2114824921" sldId="1173"/>
            <ac:spMk id="42" creationId="{93D62563-61DF-4BE5-48C6-76D5B2B19DD7}"/>
          </ac:spMkLst>
        </pc:spChg>
        <pc:spChg chg="mod">
          <ac:chgData name="Marina Dragicevic Parot" userId="41bbd016-dea3-4f92-9ac7-37fe2e9521b0" providerId="ADAL" clId="{B0B5457C-028E-4BE3-A696-120104050809}" dt="2022-07-05T13:36:27.126" v="232" actId="108"/>
          <ac:spMkLst>
            <pc:docMk/>
            <pc:sldMk cId="2114824921" sldId="1173"/>
            <ac:spMk id="44" creationId="{BA1648EA-FED2-F576-8C00-90ED69A25CA3}"/>
          </ac:spMkLst>
        </pc:spChg>
        <pc:spChg chg="mod">
          <ac:chgData name="Marina Dragicevic Parot" userId="41bbd016-dea3-4f92-9ac7-37fe2e9521b0" providerId="ADAL" clId="{B0B5457C-028E-4BE3-A696-120104050809}" dt="2022-07-05T13:15:07.907" v="87" actId="1076"/>
          <ac:spMkLst>
            <pc:docMk/>
            <pc:sldMk cId="2114824921" sldId="1173"/>
            <ac:spMk id="46" creationId="{2A986C47-6F07-C935-9A1B-B63B54556EAC}"/>
          </ac:spMkLst>
        </pc:spChg>
        <pc:spChg chg="mod">
          <ac:chgData name="Marina Dragicevic Parot" userId="41bbd016-dea3-4f92-9ac7-37fe2e9521b0" providerId="ADAL" clId="{B0B5457C-028E-4BE3-A696-120104050809}" dt="2022-07-05T13:36:00.010" v="231" actId="108"/>
          <ac:spMkLst>
            <pc:docMk/>
            <pc:sldMk cId="2114824921" sldId="1173"/>
            <ac:spMk id="49" creationId="{A47772D0-DE6B-60F6-B377-F8DF68346F4C}"/>
          </ac:spMkLst>
        </pc:spChg>
        <pc:spChg chg="mod">
          <ac:chgData name="Marina Dragicevic Parot" userId="41bbd016-dea3-4f92-9ac7-37fe2e9521b0" providerId="ADAL" clId="{B0B5457C-028E-4BE3-A696-120104050809}" dt="2022-07-05T13:13:11.164" v="68" actId="1076"/>
          <ac:spMkLst>
            <pc:docMk/>
            <pc:sldMk cId="2114824921" sldId="1173"/>
            <ac:spMk id="50" creationId="{DEE3A548-9C84-B3DB-B8A9-EB0300E2DE3C}"/>
          </ac:spMkLst>
        </pc:spChg>
        <pc:spChg chg="mod">
          <ac:chgData name="Marina Dragicevic Parot" userId="41bbd016-dea3-4f92-9ac7-37fe2e9521b0" providerId="ADAL" clId="{B0B5457C-028E-4BE3-A696-120104050809}" dt="2022-07-05T13:17:56.638" v="101" actId="1076"/>
          <ac:spMkLst>
            <pc:docMk/>
            <pc:sldMk cId="2114824921" sldId="1173"/>
            <ac:spMk id="51" creationId="{D450D948-D903-B653-3921-0232BA8F4B1E}"/>
          </ac:spMkLst>
        </pc:spChg>
        <pc:spChg chg="mod">
          <ac:chgData name="Marina Dragicevic Parot" userId="41bbd016-dea3-4f92-9ac7-37fe2e9521b0" providerId="ADAL" clId="{B0B5457C-028E-4BE3-A696-120104050809}" dt="2022-07-05T13:15:04.915" v="86" actId="1076"/>
          <ac:spMkLst>
            <pc:docMk/>
            <pc:sldMk cId="2114824921" sldId="1173"/>
            <ac:spMk id="52" creationId="{8215B67D-6A81-E69D-2560-6050859AB979}"/>
          </ac:spMkLst>
        </pc:spChg>
        <pc:spChg chg="mod">
          <ac:chgData name="Marina Dragicevic Parot" userId="41bbd016-dea3-4f92-9ac7-37fe2e9521b0" providerId="ADAL" clId="{B0B5457C-028E-4BE3-A696-120104050809}" dt="2022-07-05T13:13:29.807" v="73" actId="1076"/>
          <ac:spMkLst>
            <pc:docMk/>
            <pc:sldMk cId="2114824921" sldId="1173"/>
            <ac:spMk id="53" creationId="{7F8FFC6F-07A5-8D5E-04B5-FA7C7F99D90B}"/>
          </ac:spMkLst>
        </pc:spChg>
        <pc:spChg chg="mod">
          <ac:chgData name="Marina Dragicevic Parot" userId="41bbd016-dea3-4f92-9ac7-37fe2e9521b0" providerId="ADAL" clId="{B0B5457C-028E-4BE3-A696-120104050809}" dt="2022-07-05T13:14:27.830" v="78" actId="1076"/>
          <ac:spMkLst>
            <pc:docMk/>
            <pc:sldMk cId="2114824921" sldId="1173"/>
            <ac:spMk id="54" creationId="{F9252CA3-8F7B-B686-FC41-5DA057FB7664}"/>
          </ac:spMkLst>
        </pc:spChg>
        <pc:spChg chg="mod">
          <ac:chgData name="Marina Dragicevic Parot" userId="41bbd016-dea3-4f92-9ac7-37fe2e9521b0" providerId="ADAL" clId="{B0B5457C-028E-4BE3-A696-120104050809}" dt="2022-07-05T13:15:10.874" v="88" actId="1076"/>
          <ac:spMkLst>
            <pc:docMk/>
            <pc:sldMk cId="2114824921" sldId="1173"/>
            <ac:spMk id="55" creationId="{2703DEA8-51F8-F862-B71D-CE41F2A5662F}"/>
          </ac:spMkLst>
        </pc:spChg>
        <pc:spChg chg="mod">
          <ac:chgData name="Marina Dragicevic Parot" userId="41bbd016-dea3-4f92-9ac7-37fe2e9521b0" providerId="ADAL" clId="{B0B5457C-028E-4BE3-A696-120104050809}" dt="2022-07-05T13:13:23.185" v="71" actId="1076"/>
          <ac:spMkLst>
            <pc:docMk/>
            <pc:sldMk cId="2114824921" sldId="1173"/>
            <ac:spMk id="56" creationId="{7957DFA0-13DF-6EEA-AC22-BA0820638B9C}"/>
          </ac:spMkLst>
        </pc:spChg>
        <pc:spChg chg="mod">
          <ac:chgData name="Marina Dragicevic Parot" userId="41bbd016-dea3-4f92-9ac7-37fe2e9521b0" providerId="ADAL" clId="{B0B5457C-028E-4BE3-A696-120104050809}" dt="2022-07-05T13:15:34.172" v="92" actId="1076"/>
          <ac:spMkLst>
            <pc:docMk/>
            <pc:sldMk cId="2114824921" sldId="1173"/>
            <ac:spMk id="59" creationId="{80EAF595-D237-2794-809F-60A06147FCAB}"/>
          </ac:spMkLst>
        </pc:spChg>
        <pc:spChg chg="mod">
          <ac:chgData name="Marina Dragicevic Parot" userId="41bbd016-dea3-4f92-9ac7-37fe2e9521b0" providerId="ADAL" clId="{B0B5457C-028E-4BE3-A696-120104050809}" dt="2022-07-05T13:13:39.955" v="77" actId="1076"/>
          <ac:spMkLst>
            <pc:docMk/>
            <pc:sldMk cId="2114824921" sldId="1173"/>
            <ac:spMk id="60" creationId="{8A7E531D-2C68-216B-AAFD-0B738D4C7CC3}"/>
          </ac:spMkLst>
        </pc:spChg>
        <pc:spChg chg="mod">
          <ac:chgData name="Marina Dragicevic Parot" userId="41bbd016-dea3-4f92-9ac7-37fe2e9521b0" providerId="ADAL" clId="{B0B5457C-028E-4BE3-A696-120104050809}" dt="2022-07-05T13:14:47.247" v="82" actId="1076"/>
          <ac:spMkLst>
            <pc:docMk/>
            <pc:sldMk cId="2114824921" sldId="1173"/>
            <ac:spMk id="61" creationId="{245992D1-2CFE-915B-5C4F-36920A9C93DA}"/>
          </ac:spMkLst>
        </pc:spChg>
        <pc:spChg chg="del">
          <ac:chgData name="Marina Dragicevic Parot" userId="41bbd016-dea3-4f92-9ac7-37fe2e9521b0" providerId="ADAL" clId="{B0B5457C-028E-4BE3-A696-120104050809}" dt="2022-07-05T13:15:37.630" v="93" actId="478"/>
          <ac:spMkLst>
            <pc:docMk/>
            <pc:sldMk cId="2114824921" sldId="1173"/>
            <ac:spMk id="62" creationId="{74AE75E6-C8A0-2B2A-2C6A-CB121B84E1BD}"/>
          </ac:spMkLst>
        </pc:spChg>
        <pc:spChg chg="add mod">
          <ac:chgData name="Marina Dragicevic Parot" userId="41bbd016-dea3-4f92-9ac7-37fe2e9521b0" providerId="ADAL" clId="{B0B5457C-028E-4BE3-A696-120104050809}" dt="2022-07-05T13:15:25.027" v="90" actId="1076"/>
          <ac:spMkLst>
            <pc:docMk/>
            <pc:sldMk cId="2114824921" sldId="1173"/>
            <ac:spMk id="63" creationId="{BCF0BEE7-4596-C266-7068-45489DDD41D9}"/>
          </ac:spMkLst>
        </pc:spChg>
        <pc:picChg chg="mod">
          <ac:chgData name="Marina Dragicevic Parot" userId="41bbd016-dea3-4f92-9ac7-37fe2e9521b0" providerId="ADAL" clId="{B0B5457C-028E-4BE3-A696-120104050809}" dt="2022-07-05T13:37:18.661" v="233"/>
          <ac:picMkLst>
            <pc:docMk/>
            <pc:sldMk cId="2114824921" sldId="1173"/>
            <ac:picMk id="9" creationId="{20CA73FC-223C-F56D-45A2-16ED0E7123B6}"/>
          </ac:picMkLst>
        </pc:picChg>
      </pc:sldChg>
      <pc:sldChg chg="modSp mod">
        <pc:chgData name="Marina Dragicevic Parot" userId="41bbd016-dea3-4f92-9ac7-37fe2e9521b0" providerId="ADAL" clId="{B0B5457C-028E-4BE3-A696-120104050809}" dt="2022-07-05T13:24:13.636" v="189" actId="1076"/>
        <pc:sldMkLst>
          <pc:docMk/>
          <pc:sldMk cId="3931726378" sldId="1177"/>
        </pc:sldMkLst>
        <pc:spChg chg="mod">
          <ac:chgData name="Marina Dragicevic Parot" userId="41bbd016-dea3-4f92-9ac7-37fe2e9521b0" providerId="ADAL" clId="{B0B5457C-028E-4BE3-A696-120104050809}" dt="2022-07-05T13:23:55.724" v="185" actId="1076"/>
          <ac:spMkLst>
            <pc:docMk/>
            <pc:sldMk cId="3931726378" sldId="1177"/>
            <ac:spMk id="29" creationId="{F3EBE651-AA4E-0DC8-8EC9-7AD4856BAF07}"/>
          </ac:spMkLst>
        </pc:spChg>
        <pc:spChg chg="mod">
          <ac:chgData name="Marina Dragicevic Parot" userId="41bbd016-dea3-4f92-9ac7-37fe2e9521b0" providerId="ADAL" clId="{B0B5457C-028E-4BE3-A696-120104050809}" dt="2022-07-05T13:23:55.724" v="185" actId="1076"/>
          <ac:spMkLst>
            <pc:docMk/>
            <pc:sldMk cId="3931726378" sldId="1177"/>
            <ac:spMk id="30" creationId="{8DEA7893-0A78-3805-45B9-F130D2B0B8B2}"/>
          </ac:spMkLst>
        </pc:spChg>
        <pc:spChg chg="mod">
          <ac:chgData name="Marina Dragicevic Parot" userId="41bbd016-dea3-4f92-9ac7-37fe2e9521b0" providerId="ADAL" clId="{B0B5457C-028E-4BE3-A696-120104050809}" dt="2022-07-05T13:23:59.236" v="186" actId="1076"/>
          <ac:spMkLst>
            <pc:docMk/>
            <pc:sldMk cId="3931726378" sldId="1177"/>
            <ac:spMk id="31" creationId="{601C9D32-462F-9186-D992-CC55740C9548}"/>
          </ac:spMkLst>
        </pc:spChg>
        <pc:spChg chg="mod">
          <ac:chgData name="Marina Dragicevic Parot" userId="41bbd016-dea3-4f92-9ac7-37fe2e9521b0" providerId="ADAL" clId="{B0B5457C-028E-4BE3-A696-120104050809}" dt="2022-07-05T13:24:13.636" v="189" actId="1076"/>
          <ac:spMkLst>
            <pc:docMk/>
            <pc:sldMk cId="3931726378" sldId="1177"/>
            <ac:spMk id="32" creationId="{33D03B9D-4971-7A36-F2BC-6B0BC9F8DFD3}"/>
          </ac:spMkLst>
        </pc:spChg>
        <pc:spChg chg="mod">
          <ac:chgData name="Marina Dragicevic Parot" userId="41bbd016-dea3-4f92-9ac7-37fe2e9521b0" providerId="ADAL" clId="{B0B5457C-028E-4BE3-A696-120104050809}" dt="2022-07-05T13:24:02.372" v="187" actId="14100"/>
          <ac:spMkLst>
            <pc:docMk/>
            <pc:sldMk cId="3931726378" sldId="1177"/>
            <ac:spMk id="39" creationId="{A985C282-F74C-9CC0-6817-68CAA534E4C5}"/>
          </ac:spMkLst>
        </pc:spChg>
        <pc:spChg chg="mod">
          <ac:chgData name="Marina Dragicevic Parot" userId="41bbd016-dea3-4f92-9ac7-37fe2e9521b0" providerId="ADAL" clId="{B0B5457C-028E-4BE3-A696-120104050809}" dt="2022-07-05T13:24:08.574" v="188" actId="1076"/>
          <ac:spMkLst>
            <pc:docMk/>
            <pc:sldMk cId="3931726378" sldId="1177"/>
            <ac:spMk id="43" creationId="{3FB39DA4-E51C-51B7-724F-6C692E4DFF7C}"/>
          </ac:spMkLst>
        </pc:spChg>
      </pc:sldChg>
    </pc:docChg>
  </pc:docChgLst>
  <pc:docChgLst>
    <pc:chgData name="Diego Silva López" userId="67f100cc-0814-41a5-8287-6944f8ffb70c" providerId="ADAL" clId="{AA026CD9-81C4-45A2-8884-F0B903E0BCC1}"/>
    <pc:docChg chg="custSel addSld modSld">
      <pc:chgData name="Diego Silva López" userId="67f100cc-0814-41a5-8287-6944f8ffb70c" providerId="ADAL" clId="{AA026CD9-81C4-45A2-8884-F0B903E0BCC1}" dt="2022-07-05T15:56:59.405" v="25" actId="478"/>
      <pc:docMkLst>
        <pc:docMk/>
      </pc:docMkLst>
      <pc:sldChg chg="delSp modSp mod">
        <pc:chgData name="Diego Silva López" userId="67f100cc-0814-41a5-8287-6944f8ffb70c" providerId="ADAL" clId="{AA026CD9-81C4-45A2-8884-F0B903E0BCC1}" dt="2022-07-05T15:56:59.405" v="25" actId="478"/>
        <pc:sldMkLst>
          <pc:docMk/>
          <pc:sldMk cId="3414514321" sldId="256"/>
        </pc:sldMkLst>
        <pc:spChg chg="mod">
          <ac:chgData name="Diego Silva López" userId="67f100cc-0814-41a5-8287-6944f8ffb70c" providerId="ADAL" clId="{AA026CD9-81C4-45A2-8884-F0B903E0BCC1}" dt="2022-07-05T15:56:52.962" v="24" actId="20577"/>
          <ac:spMkLst>
            <pc:docMk/>
            <pc:sldMk cId="3414514321" sldId="256"/>
            <ac:spMk id="14" creationId="{3D4A0B22-700E-714F-84C5-235670F2161A}"/>
          </ac:spMkLst>
        </pc:spChg>
        <pc:spChg chg="del">
          <ac:chgData name="Diego Silva López" userId="67f100cc-0814-41a5-8287-6944f8ffb70c" providerId="ADAL" clId="{AA026CD9-81C4-45A2-8884-F0B903E0BCC1}" dt="2022-07-05T15:56:59.405" v="25" actId="478"/>
          <ac:spMkLst>
            <pc:docMk/>
            <pc:sldMk cId="3414514321" sldId="256"/>
            <ac:spMk id="17" creationId="{E386CB56-BBA5-844E-9974-DBA76D202A9E}"/>
          </ac:spMkLst>
        </pc:spChg>
      </pc:sldChg>
      <pc:sldChg chg="delCm">
        <pc:chgData name="Diego Silva López" userId="67f100cc-0814-41a5-8287-6944f8ffb70c" providerId="ADAL" clId="{AA026CD9-81C4-45A2-8884-F0B903E0BCC1}" dt="2022-07-05T15:40:39.945" v="1"/>
        <pc:sldMkLst>
          <pc:docMk/>
          <pc:sldMk cId="1658719790" sldId="1179"/>
        </pc:sldMkLst>
      </pc:sldChg>
      <pc:sldChg chg="delCm">
        <pc:chgData name="Diego Silva López" userId="67f100cc-0814-41a5-8287-6944f8ffb70c" providerId="ADAL" clId="{AA026CD9-81C4-45A2-8884-F0B903E0BCC1}" dt="2022-07-05T15:40:29.671" v="0"/>
        <pc:sldMkLst>
          <pc:docMk/>
          <pc:sldMk cId="1081788011" sldId="1180"/>
        </pc:sldMkLst>
      </pc:sldChg>
      <pc:sldChg chg="delCm">
        <pc:chgData name="Diego Silva López" userId="67f100cc-0814-41a5-8287-6944f8ffb70c" providerId="ADAL" clId="{AA026CD9-81C4-45A2-8884-F0B903E0BCC1}" dt="2022-07-05T15:40:44.461" v="2"/>
        <pc:sldMkLst>
          <pc:docMk/>
          <pc:sldMk cId="1724687837" sldId="1181"/>
        </pc:sldMkLst>
      </pc:sldChg>
      <pc:sldChg chg="delCm">
        <pc:chgData name="Diego Silva López" userId="67f100cc-0814-41a5-8287-6944f8ffb70c" providerId="ADAL" clId="{AA026CD9-81C4-45A2-8884-F0B903E0BCC1}" dt="2022-07-05T15:40:49.649" v="3"/>
        <pc:sldMkLst>
          <pc:docMk/>
          <pc:sldMk cId="1637181102" sldId="1184"/>
        </pc:sldMkLst>
      </pc:sldChg>
      <pc:sldChg chg="add">
        <pc:chgData name="Diego Silva López" userId="67f100cc-0814-41a5-8287-6944f8ffb70c" providerId="ADAL" clId="{AA026CD9-81C4-45A2-8884-F0B903E0BCC1}" dt="2022-07-05T15:56:43.016" v="4" actId="2890"/>
        <pc:sldMkLst>
          <pc:docMk/>
          <pc:sldMk cId="192434117" sldId="1190"/>
        </pc:sldMkLst>
      </pc:sldChg>
    </pc:docChg>
  </pc:docChgLst>
  <pc:docChgLst>
    <pc:chgData name="Diego Silva López" userId="67f100cc-0814-41a5-8287-6944f8ffb70c" providerId="ADAL" clId="{1891EBD6-F12C-46AF-9500-5A9ACE80F059}"/>
    <pc:docChg chg="undo custSel addSld delSld modSld sldOrd">
      <pc:chgData name="Diego Silva López" userId="67f100cc-0814-41a5-8287-6944f8ffb70c" providerId="ADAL" clId="{1891EBD6-F12C-46AF-9500-5A9ACE80F059}" dt="2022-07-05T12:41:25.885" v="50" actId="478"/>
      <pc:docMkLst>
        <pc:docMk/>
      </pc:docMkLst>
      <pc:sldChg chg="modSp mod">
        <pc:chgData name="Diego Silva López" userId="67f100cc-0814-41a5-8287-6944f8ffb70c" providerId="ADAL" clId="{1891EBD6-F12C-46AF-9500-5A9ACE80F059}" dt="2022-07-05T12:28:57.416" v="6" actId="1076"/>
        <pc:sldMkLst>
          <pc:docMk/>
          <pc:sldMk cId="298862538" sldId="277"/>
        </pc:sldMkLst>
        <pc:picChg chg="mod">
          <ac:chgData name="Diego Silva López" userId="67f100cc-0814-41a5-8287-6944f8ffb70c" providerId="ADAL" clId="{1891EBD6-F12C-46AF-9500-5A9ACE80F059}" dt="2022-07-05T12:28:57.416" v="6" actId="1076"/>
          <ac:picMkLst>
            <pc:docMk/>
            <pc:sldMk cId="298862538" sldId="277"/>
            <ac:picMk id="3" creationId="{94D3BC5F-67B9-5B40-BE54-3F85C8EAA209}"/>
          </ac:picMkLst>
        </pc:picChg>
      </pc:sldChg>
      <pc:sldChg chg="modSp mod">
        <pc:chgData name="Diego Silva López" userId="67f100cc-0814-41a5-8287-6944f8ffb70c" providerId="ADAL" clId="{1891EBD6-F12C-46AF-9500-5A9ACE80F059}" dt="2022-07-05T12:35:22.068" v="48" actId="20577"/>
        <pc:sldMkLst>
          <pc:docMk/>
          <pc:sldMk cId="2473937384" sldId="1094"/>
        </pc:sldMkLst>
        <pc:spChg chg="mod">
          <ac:chgData name="Diego Silva López" userId="67f100cc-0814-41a5-8287-6944f8ffb70c" providerId="ADAL" clId="{1891EBD6-F12C-46AF-9500-5A9ACE80F059}" dt="2022-07-05T12:35:22.068" v="48" actId="20577"/>
          <ac:spMkLst>
            <pc:docMk/>
            <pc:sldMk cId="2473937384" sldId="1094"/>
            <ac:spMk id="9" creationId="{E22DA6E0-E8BF-1F4F-8CF8-38D3EE9FFFD1}"/>
          </ac:spMkLst>
        </pc:spChg>
        <pc:spChg chg="mod">
          <ac:chgData name="Diego Silva López" userId="67f100cc-0814-41a5-8287-6944f8ffb70c" providerId="ADAL" clId="{1891EBD6-F12C-46AF-9500-5A9ACE80F059}" dt="2022-07-05T12:35:16.448" v="39" actId="1076"/>
          <ac:spMkLst>
            <pc:docMk/>
            <pc:sldMk cId="2473937384" sldId="1094"/>
            <ac:spMk id="33" creationId="{C0AD977A-37BB-B998-4449-4F7488448C5C}"/>
          </ac:spMkLst>
        </pc:spChg>
      </pc:sldChg>
      <pc:sldChg chg="addSp modSp mod ord">
        <pc:chgData name="Diego Silva López" userId="67f100cc-0814-41a5-8287-6944f8ffb70c" providerId="ADAL" clId="{1891EBD6-F12C-46AF-9500-5A9ACE80F059}" dt="2022-07-05T12:34:54.200" v="27" actId="1076"/>
        <pc:sldMkLst>
          <pc:docMk/>
          <pc:sldMk cId="1964452394" sldId="1150"/>
        </pc:sldMkLst>
        <pc:spChg chg="add mod">
          <ac:chgData name="Diego Silva López" userId="67f100cc-0814-41a5-8287-6944f8ffb70c" providerId="ADAL" clId="{1891EBD6-F12C-46AF-9500-5A9ACE80F059}" dt="2022-07-05T12:34:54.200" v="27" actId="1076"/>
          <ac:spMkLst>
            <pc:docMk/>
            <pc:sldMk cId="1964452394" sldId="1150"/>
            <ac:spMk id="47" creationId="{964C6096-B8E6-6CE4-00A1-9B6E9E2125D9}"/>
          </ac:spMkLst>
        </pc:spChg>
        <pc:spChg chg="add mod">
          <ac:chgData name="Diego Silva López" userId="67f100cc-0814-41a5-8287-6944f8ffb70c" providerId="ADAL" clId="{1891EBD6-F12C-46AF-9500-5A9ACE80F059}" dt="2022-07-05T12:34:54.200" v="27" actId="1076"/>
          <ac:spMkLst>
            <pc:docMk/>
            <pc:sldMk cId="1964452394" sldId="1150"/>
            <ac:spMk id="49" creationId="{F2CFF0A0-8FD7-F69B-2493-9521AB395A04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53" creationId="{8EF18FA4-37B9-4435-F2F1-E6EB42B83C80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54" creationId="{2A0D76E8-5BA8-8E7B-B31C-527064F529D1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55" creationId="{304C4842-737C-C29E-5A97-FD3A3A99C977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56" creationId="{A9EE2EA1-D3AE-310C-4935-1D5F5B8E4CE7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57" creationId="{E301917A-3AD6-5A98-5357-93295CB7613B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59" creationId="{F4F4060E-A682-DFF6-7D85-26E8B729F9C0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74" creationId="{3406FE0F-1618-E81B-771E-3645E2081C9F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77" creationId="{3BD64804-9959-EE4F-DF10-F12B3C6B6F62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80" creationId="{A355AFE9-89BB-6CA5-065F-AE59D38B06A8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88" creationId="{D472EB40-9DAE-E6F0-6CF0-8A516BF04FA4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89" creationId="{F437F825-326F-311E-AABB-3C30CDD0231F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90" creationId="{E5314CA6-F7D0-BA7E-7B4F-52E3DF9A70F5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92" creationId="{78FA70AB-424D-DF33-A94A-4FB8292EE1AF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95" creationId="{19472035-E388-2F00-E853-28365E1C45A9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98" creationId="{0C9F5EF1-2336-3B95-DD5F-FFE6291B4F40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107" creationId="{BB7BB755-3365-4F2B-1653-8FFC5E57C627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109" creationId="{2C006AFA-78BF-F30B-B65A-1F9E772F5387}"/>
          </ac:spMkLst>
        </pc:spChg>
        <pc:spChg chg="mod">
          <ac:chgData name="Diego Silva López" userId="67f100cc-0814-41a5-8287-6944f8ffb70c" providerId="ADAL" clId="{1891EBD6-F12C-46AF-9500-5A9ACE80F059}" dt="2022-07-05T12:34:36.007" v="16" actId="1076"/>
          <ac:spMkLst>
            <pc:docMk/>
            <pc:sldMk cId="1964452394" sldId="1150"/>
            <ac:spMk id="111" creationId="{E8F210FB-FCA2-71A8-8C4E-0B1AA80FF3AF}"/>
          </ac:spMkLst>
        </pc:spChg>
        <pc:spChg chg="mod">
          <ac:chgData name="Diego Silva López" userId="67f100cc-0814-41a5-8287-6944f8ffb70c" providerId="ADAL" clId="{1891EBD6-F12C-46AF-9500-5A9ACE80F059}" dt="2022-07-05T12:34:36.007" v="16" actId="1076"/>
          <ac:spMkLst>
            <pc:docMk/>
            <pc:sldMk cId="1964452394" sldId="1150"/>
            <ac:spMk id="112" creationId="{FCEDAAA7-AE0E-B3A0-114E-36D4FFBAB3E7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114" creationId="{DDE09CE7-9319-C2AE-479F-06569D7E80BF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115" creationId="{7E1293A0-D977-18AE-93CB-4AB474D427DE}"/>
          </ac:spMkLst>
        </pc:spChg>
        <pc:spChg chg="mod">
          <ac:chgData name="Diego Silva López" userId="67f100cc-0814-41a5-8287-6944f8ffb70c" providerId="ADAL" clId="{1891EBD6-F12C-46AF-9500-5A9ACE80F059}" dt="2022-07-05T12:34:28.626" v="15" actId="1076"/>
          <ac:spMkLst>
            <pc:docMk/>
            <pc:sldMk cId="1964452394" sldId="1150"/>
            <ac:spMk id="116" creationId="{415520FB-1BCF-CC5A-B6D6-E43254A81BEE}"/>
          </ac:spMkLst>
        </pc:spChg>
        <pc:spChg chg="mod">
          <ac:chgData name="Diego Silva López" userId="67f100cc-0814-41a5-8287-6944f8ffb70c" providerId="ADAL" clId="{1891EBD6-F12C-46AF-9500-5A9ACE80F059}" dt="2022-07-05T12:34:36.007" v="16" actId="1076"/>
          <ac:spMkLst>
            <pc:docMk/>
            <pc:sldMk cId="1964452394" sldId="1150"/>
            <ac:spMk id="117" creationId="{91017416-D1CE-89FE-6700-6475FE3FCDC8}"/>
          </ac:spMkLst>
        </pc:spChg>
        <pc:grpChg chg="mod">
          <ac:chgData name="Diego Silva López" userId="67f100cc-0814-41a5-8287-6944f8ffb70c" providerId="ADAL" clId="{1891EBD6-F12C-46AF-9500-5A9ACE80F059}" dt="2022-07-05T12:34:28.626" v="15" actId="1076"/>
          <ac:grpSpMkLst>
            <pc:docMk/>
            <pc:sldMk cId="1964452394" sldId="1150"/>
            <ac:grpSpMk id="73" creationId="{95A5D2C9-5DCE-BA7A-C01A-D389D3D90207}"/>
          </ac:grpSpMkLst>
        </pc:grpChg>
        <pc:grpChg chg="mod">
          <ac:chgData name="Diego Silva López" userId="67f100cc-0814-41a5-8287-6944f8ffb70c" providerId="ADAL" clId="{1891EBD6-F12C-46AF-9500-5A9ACE80F059}" dt="2022-07-05T12:34:28.626" v="15" actId="1076"/>
          <ac:grpSpMkLst>
            <pc:docMk/>
            <pc:sldMk cId="1964452394" sldId="1150"/>
            <ac:grpSpMk id="76" creationId="{601635EE-D544-F0AD-7F70-0E3A7A613525}"/>
          </ac:grpSpMkLst>
        </pc:grpChg>
        <pc:grpChg chg="mod">
          <ac:chgData name="Diego Silva López" userId="67f100cc-0814-41a5-8287-6944f8ffb70c" providerId="ADAL" clId="{1891EBD6-F12C-46AF-9500-5A9ACE80F059}" dt="2022-07-05T12:34:28.626" v="15" actId="1076"/>
          <ac:grpSpMkLst>
            <pc:docMk/>
            <pc:sldMk cId="1964452394" sldId="1150"/>
            <ac:grpSpMk id="79" creationId="{8F7C48E2-7353-E6CD-1D23-EDE904C63EFD}"/>
          </ac:grpSpMkLst>
        </pc:grpChg>
        <pc:grpChg chg="mod">
          <ac:chgData name="Diego Silva López" userId="67f100cc-0814-41a5-8287-6944f8ffb70c" providerId="ADAL" clId="{1891EBD6-F12C-46AF-9500-5A9ACE80F059}" dt="2022-07-05T12:34:28.626" v="15" actId="1076"/>
          <ac:grpSpMkLst>
            <pc:docMk/>
            <pc:sldMk cId="1964452394" sldId="1150"/>
            <ac:grpSpMk id="91" creationId="{2EF9B154-EBC7-3FD5-1B95-BF04FAC0B133}"/>
          </ac:grpSpMkLst>
        </pc:grpChg>
        <pc:grpChg chg="mod">
          <ac:chgData name="Diego Silva López" userId="67f100cc-0814-41a5-8287-6944f8ffb70c" providerId="ADAL" clId="{1891EBD6-F12C-46AF-9500-5A9ACE80F059}" dt="2022-07-05T12:34:28.626" v="15" actId="1076"/>
          <ac:grpSpMkLst>
            <pc:docMk/>
            <pc:sldMk cId="1964452394" sldId="1150"/>
            <ac:grpSpMk id="94" creationId="{32B2C0DE-CAAC-50EE-BB4F-723C7964E16D}"/>
          </ac:grpSpMkLst>
        </pc:grpChg>
        <pc:grpChg chg="mod">
          <ac:chgData name="Diego Silva López" userId="67f100cc-0814-41a5-8287-6944f8ffb70c" providerId="ADAL" clId="{1891EBD6-F12C-46AF-9500-5A9ACE80F059}" dt="2022-07-05T12:34:28.626" v="15" actId="1076"/>
          <ac:grpSpMkLst>
            <pc:docMk/>
            <pc:sldMk cId="1964452394" sldId="1150"/>
            <ac:grpSpMk id="97" creationId="{40C04E5A-8A32-2299-2A9E-E9262E2302D3}"/>
          </ac:grpSpMkLst>
        </pc:grpChg>
        <pc:grpChg chg="mod">
          <ac:chgData name="Diego Silva López" userId="67f100cc-0814-41a5-8287-6944f8ffb70c" providerId="ADAL" clId="{1891EBD6-F12C-46AF-9500-5A9ACE80F059}" dt="2022-07-05T12:34:28.626" v="15" actId="1076"/>
          <ac:grpSpMkLst>
            <pc:docMk/>
            <pc:sldMk cId="1964452394" sldId="1150"/>
            <ac:grpSpMk id="106" creationId="{7DB59B7F-D84C-96BB-5739-0638A79EFC39}"/>
          </ac:grpSpMkLst>
        </pc:grpChg>
        <pc:grpChg chg="mod">
          <ac:chgData name="Diego Silva López" userId="67f100cc-0814-41a5-8287-6944f8ffb70c" providerId="ADAL" clId="{1891EBD6-F12C-46AF-9500-5A9ACE80F059}" dt="2022-07-05T12:34:28.626" v="15" actId="1076"/>
          <ac:grpSpMkLst>
            <pc:docMk/>
            <pc:sldMk cId="1964452394" sldId="1150"/>
            <ac:grpSpMk id="110" creationId="{133BB098-EAD5-8DF7-CC7D-7924307B4CF6}"/>
          </ac:grpSpMkLst>
        </pc:grp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48" creationId="{EA5F1A8C-694A-1BFE-3A36-E4B3D61E097D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58" creationId="{9E116E69-4D11-C126-E196-2D9F210B8540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75" creationId="{B192ECA1-86D5-D001-A61E-B9EFFF64D850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78" creationId="{FE628496-9C92-D7AC-F20E-F207AA92D958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81" creationId="{442A1003-1ED2-F46F-B32F-985C044EA715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82" creationId="{C3E0E894-7F6F-4686-176F-2356DD79B6F3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84" creationId="{9B42C1E7-9D49-6550-02E5-FA55144DA056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93" creationId="{C87EBFB9-5851-EBD9-1A75-5CD5BCA70314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96" creationId="{01FA5338-C17F-18AF-9E79-E6E0623BDF85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99" creationId="{6997D4B2-136E-E153-DB10-C8424A935916}"/>
          </ac:picMkLst>
        </pc:picChg>
        <pc:picChg chg="mod">
          <ac:chgData name="Diego Silva López" userId="67f100cc-0814-41a5-8287-6944f8ffb70c" providerId="ADAL" clId="{1891EBD6-F12C-46AF-9500-5A9ACE80F059}" dt="2022-07-05T12:34:28.626" v="15" actId="1076"/>
          <ac:picMkLst>
            <pc:docMk/>
            <pc:sldMk cId="1964452394" sldId="1150"/>
            <ac:picMk id="108" creationId="{7AFA612A-62A3-881D-9FB4-AEE39F915CAD}"/>
          </ac:picMkLst>
        </pc:picChg>
      </pc:sldChg>
      <pc:sldChg chg="delCm">
        <pc:chgData name="Diego Silva López" userId="67f100cc-0814-41a5-8287-6944f8ffb70c" providerId="ADAL" clId="{1891EBD6-F12C-46AF-9500-5A9ACE80F059}" dt="2022-07-05T12:30:29.490" v="8"/>
        <pc:sldMkLst>
          <pc:docMk/>
          <pc:sldMk cId="2048557805" sldId="1153"/>
        </pc:sldMkLst>
      </pc:sldChg>
      <pc:sldChg chg="addSp delSp modSp mod">
        <pc:chgData name="Diego Silva López" userId="67f100cc-0814-41a5-8287-6944f8ffb70c" providerId="ADAL" clId="{1891EBD6-F12C-46AF-9500-5A9ACE80F059}" dt="2022-07-05T12:41:25.885" v="50" actId="478"/>
        <pc:sldMkLst>
          <pc:docMk/>
          <pc:sldMk cId="914876002" sldId="1156"/>
        </pc:sldMkLst>
        <pc:spChg chg="mod">
          <ac:chgData name="Diego Silva López" userId="67f100cc-0814-41a5-8287-6944f8ffb70c" providerId="ADAL" clId="{1891EBD6-F12C-46AF-9500-5A9ACE80F059}" dt="2022-07-05T12:41:22.297" v="49"/>
          <ac:spMkLst>
            <pc:docMk/>
            <pc:sldMk cId="914876002" sldId="1156"/>
            <ac:spMk id="42" creationId="{386B30F3-6E96-6797-A439-8FB7208EC561}"/>
          </ac:spMkLst>
        </pc:spChg>
        <pc:spChg chg="mod">
          <ac:chgData name="Diego Silva López" userId="67f100cc-0814-41a5-8287-6944f8ffb70c" providerId="ADAL" clId="{1891EBD6-F12C-46AF-9500-5A9ACE80F059}" dt="2022-07-05T12:41:22.297" v="49"/>
          <ac:spMkLst>
            <pc:docMk/>
            <pc:sldMk cId="914876002" sldId="1156"/>
            <ac:spMk id="43" creationId="{85180362-F645-1D1F-9F26-68F67F9A8834}"/>
          </ac:spMkLst>
        </pc:spChg>
        <pc:spChg chg="mod">
          <ac:chgData name="Diego Silva López" userId="67f100cc-0814-41a5-8287-6944f8ffb70c" providerId="ADAL" clId="{1891EBD6-F12C-46AF-9500-5A9ACE80F059}" dt="2022-07-05T12:41:22.297" v="49"/>
          <ac:spMkLst>
            <pc:docMk/>
            <pc:sldMk cId="914876002" sldId="1156"/>
            <ac:spMk id="44" creationId="{DDE7DE0D-6E0B-42A8-E55E-D220D0B9FAFA}"/>
          </ac:spMkLst>
        </pc:spChg>
        <pc:spChg chg="del">
          <ac:chgData name="Diego Silva López" userId="67f100cc-0814-41a5-8287-6944f8ffb70c" providerId="ADAL" clId="{1891EBD6-F12C-46AF-9500-5A9ACE80F059}" dt="2022-07-05T12:41:25.885" v="50" actId="478"/>
          <ac:spMkLst>
            <pc:docMk/>
            <pc:sldMk cId="914876002" sldId="1156"/>
            <ac:spMk id="124" creationId="{A4DF615A-A4C2-2E70-024F-691A63E17AAB}"/>
          </ac:spMkLst>
        </pc:spChg>
        <pc:grpChg chg="add mod">
          <ac:chgData name="Diego Silva López" userId="67f100cc-0814-41a5-8287-6944f8ffb70c" providerId="ADAL" clId="{1891EBD6-F12C-46AF-9500-5A9ACE80F059}" dt="2022-07-05T12:41:22.297" v="49"/>
          <ac:grpSpMkLst>
            <pc:docMk/>
            <pc:sldMk cId="914876002" sldId="1156"/>
            <ac:grpSpMk id="41" creationId="{46A6835E-A72A-D938-0514-0EFF939EBC1D}"/>
          </ac:grpSpMkLst>
        </pc:grpChg>
      </pc:sldChg>
      <pc:sldChg chg="delSp modSp mod">
        <pc:chgData name="Diego Silva López" userId="67f100cc-0814-41a5-8287-6944f8ffb70c" providerId="ADAL" clId="{1891EBD6-F12C-46AF-9500-5A9ACE80F059}" dt="2022-07-05T12:26:17.425" v="2" actId="1076"/>
        <pc:sldMkLst>
          <pc:docMk/>
          <pc:sldMk cId="2976143275" sldId="1165"/>
        </pc:sldMkLst>
        <pc:spChg chg="mod">
          <ac:chgData name="Diego Silva López" userId="67f100cc-0814-41a5-8287-6944f8ffb70c" providerId="ADAL" clId="{1891EBD6-F12C-46AF-9500-5A9ACE80F059}" dt="2022-07-05T12:26:17.425" v="2" actId="1076"/>
          <ac:spMkLst>
            <pc:docMk/>
            <pc:sldMk cId="2976143275" sldId="1165"/>
            <ac:spMk id="51" creationId="{136E7E0D-8558-F6DE-541F-087B8029E37F}"/>
          </ac:spMkLst>
        </pc:spChg>
        <pc:spChg chg="mod">
          <ac:chgData name="Diego Silva López" userId="67f100cc-0814-41a5-8287-6944f8ffb70c" providerId="ADAL" clId="{1891EBD6-F12C-46AF-9500-5A9ACE80F059}" dt="2022-07-05T12:26:17.425" v="2" actId="1076"/>
          <ac:spMkLst>
            <pc:docMk/>
            <pc:sldMk cId="2976143275" sldId="1165"/>
            <ac:spMk id="52" creationId="{D5BF9FC3-47FE-0C90-5645-A757D0309C8E}"/>
          </ac:spMkLst>
        </pc:spChg>
        <pc:spChg chg="mod">
          <ac:chgData name="Diego Silva López" userId="67f100cc-0814-41a5-8287-6944f8ffb70c" providerId="ADAL" clId="{1891EBD6-F12C-46AF-9500-5A9ACE80F059}" dt="2022-07-05T12:26:17.425" v="2" actId="1076"/>
          <ac:spMkLst>
            <pc:docMk/>
            <pc:sldMk cId="2976143275" sldId="1165"/>
            <ac:spMk id="53" creationId="{F6E052FC-B2DB-8B28-05A0-4042D9FD6BF4}"/>
          </ac:spMkLst>
        </pc:spChg>
        <pc:spChg chg="mod">
          <ac:chgData name="Diego Silva López" userId="67f100cc-0814-41a5-8287-6944f8ffb70c" providerId="ADAL" clId="{1891EBD6-F12C-46AF-9500-5A9ACE80F059}" dt="2022-07-05T12:26:17.425" v="2" actId="1076"/>
          <ac:spMkLst>
            <pc:docMk/>
            <pc:sldMk cId="2976143275" sldId="1165"/>
            <ac:spMk id="54" creationId="{6B5D2735-4E5F-1679-75EB-C903DB07C015}"/>
          </ac:spMkLst>
        </pc:spChg>
        <pc:spChg chg="mod">
          <ac:chgData name="Diego Silva López" userId="67f100cc-0814-41a5-8287-6944f8ffb70c" providerId="ADAL" clId="{1891EBD6-F12C-46AF-9500-5A9ACE80F059}" dt="2022-07-05T12:26:17.425" v="2" actId="1076"/>
          <ac:spMkLst>
            <pc:docMk/>
            <pc:sldMk cId="2976143275" sldId="1165"/>
            <ac:spMk id="55" creationId="{A1500F91-E8D2-068A-6EF2-C3CFDE23957E}"/>
          </ac:spMkLst>
        </pc:spChg>
        <pc:spChg chg="mod">
          <ac:chgData name="Diego Silva López" userId="67f100cc-0814-41a5-8287-6944f8ffb70c" providerId="ADAL" clId="{1891EBD6-F12C-46AF-9500-5A9ACE80F059}" dt="2022-07-05T12:26:17.425" v="2" actId="1076"/>
          <ac:spMkLst>
            <pc:docMk/>
            <pc:sldMk cId="2976143275" sldId="1165"/>
            <ac:spMk id="56" creationId="{97A95358-C4D0-E914-4A4C-20CB18719AAE}"/>
          </ac:spMkLst>
        </pc:spChg>
        <pc:spChg chg="mod">
          <ac:chgData name="Diego Silva López" userId="67f100cc-0814-41a5-8287-6944f8ffb70c" providerId="ADAL" clId="{1891EBD6-F12C-46AF-9500-5A9ACE80F059}" dt="2022-07-05T12:26:17.425" v="2" actId="1076"/>
          <ac:spMkLst>
            <pc:docMk/>
            <pc:sldMk cId="2976143275" sldId="1165"/>
            <ac:spMk id="90" creationId="{F9C4F258-DE27-D6E0-018F-04018BEF7BAC}"/>
          </ac:spMkLst>
        </pc:spChg>
        <pc:spChg chg="del">
          <ac:chgData name="Diego Silva López" userId="67f100cc-0814-41a5-8287-6944f8ffb70c" providerId="ADAL" clId="{1891EBD6-F12C-46AF-9500-5A9ACE80F059}" dt="2022-07-05T12:26:09.219" v="1" actId="478"/>
          <ac:spMkLst>
            <pc:docMk/>
            <pc:sldMk cId="2976143275" sldId="1165"/>
            <ac:spMk id="92" creationId="{F5F2514C-11E4-5F87-72CF-D5EB1D4A731B}"/>
          </ac:spMkLst>
        </pc:spChg>
        <pc:spChg chg="del">
          <ac:chgData name="Diego Silva López" userId="67f100cc-0814-41a5-8287-6944f8ffb70c" providerId="ADAL" clId="{1891EBD6-F12C-46AF-9500-5A9ACE80F059}" dt="2022-07-05T12:26:05.851" v="0" actId="478"/>
          <ac:spMkLst>
            <pc:docMk/>
            <pc:sldMk cId="2976143275" sldId="1165"/>
            <ac:spMk id="94" creationId="{474940EF-C4F9-E057-32DC-9BEE3726C2FF}"/>
          </ac:spMkLst>
        </pc:spChg>
        <pc:spChg chg="del">
          <ac:chgData name="Diego Silva López" userId="67f100cc-0814-41a5-8287-6944f8ffb70c" providerId="ADAL" clId="{1891EBD6-F12C-46AF-9500-5A9ACE80F059}" dt="2022-07-05T12:26:05.851" v="0" actId="478"/>
          <ac:spMkLst>
            <pc:docMk/>
            <pc:sldMk cId="2976143275" sldId="1165"/>
            <ac:spMk id="95" creationId="{B655F573-55FD-70CC-2DA0-F1D8885E2706}"/>
          </ac:spMkLst>
        </pc:spChg>
        <pc:spChg chg="del">
          <ac:chgData name="Diego Silva López" userId="67f100cc-0814-41a5-8287-6944f8ffb70c" providerId="ADAL" clId="{1891EBD6-F12C-46AF-9500-5A9ACE80F059}" dt="2022-07-05T12:26:05.851" v="0" actId="478"/>
          <ac:spMkLst>
            <pc:docMk/>
            <pc:sldMk cId="2976143275" sldId="1165"/>
            <ac:spMk id="96" creationId="{B79B6C0B-598B-35F5-7EE8-8DFDD7FC375C}"/>
          </ac:spMkLst>
        </pc:spChg>
        <pc:spChg chg="del">
          <ac:chgData name="Diego Silva López" userId="67f100cc-0814-41a5-8287-6944f8ffb70c" providerId="ADAL" clId="{1891EBD6-F12C-46AF-9500-5A9ACE80F059}" dt="2022-07-05T12:26:09.219" v="1" actId="478"/>
          <ac:spMkLst>
            <pc:docMk/>
            <pc:sldMk cId="2976143275" sldId="1165"/>
            <ac:spMk id="98" creationId="{28B4B6EB-0AF1-0596-17B7-802FE177C957}"/>
          </ac:spMkLst>
        </pc:spChg>
        <pc:spChg chg="del">
          <ac:chgData name="Diego Silva López" userId="67f100cc-0814-41a5-8287-6944f8ffb70c" providerId="ADAL" clId="{1891EBD6-F12C-46AF-9500-5A9ACE80F059}" dt="2022-07-05T12:26:05.851" v="0" actId="478"/>
          <ac:spMkLst>
            <pc:docMk/>
            <pc:sldMk cId="2976143275" sldId="1165"/>
            <ac:spMk id="100" creationId="{C453D6B9-00A0-A1B9-2547-FE67CE8F76D7}"/>
          </ac:spMkLst>
        </pc:spChg>
        <pc:spChg chg="del">
          <ac:chgData name="Diego Silva López" userId="67f100cc-0814-41a5-8287-6944f8ffb70c" providerId="ADAL" clId="{1891EBD6-F12C-46AF-9500-5A9ACE80F059}" dt="2022-07-05T12:26:05.851" v="0" actId="478"/>
          <ac:spMkLst>
            <pc:docMk/>
            <pc:sldMk cId="2976143275" sldId="1165"/>
            <ac:spMk id="101" creationId="{0B0885C5-C668-12FC-8015-EC9CF5CB89C0}"/>
          </ac:spMkLst>
        </pc:spChg>
        <pc:spChg chg="del">
          <ac:chgData name="Diego Silva López" userId="67f100cc-0814-41a5-8287-6944f8ffb70c" providerId="ADAL" clId="{1891EBD6-F12C-46AF-9500-5A9ACE80F059}" dt="2022-07-05T12:26:05.851" v="0" actId="478"/>
          <ac:spMkLst>
            <pc:docMk/>
            <pc:sldMk cId="2976143275" sldId="1165"/>
            <ac:spMk id="102" creationId="{0FE3CE15-C8A9-4ECA-C6E5-447E3B7CBE32}"/>
          </ac:spMkLst>
        </pc:spChg>
        <pc:spChg chg="del">
          <ac:chgData name="Diego Silva López" userId="67f100cc-0814-41a5-8287-6944f8ffb70c" providerId="ADAL" clId="{1891EBD6-F12C-46AF-9500-5A9ACE80F059}" dt="2022-07-05T12:26:05.851" v="0" actId="478"/>
          <ac:spMkLst>
            <pc:docMk/>
            <pc:sldMk cId="2976143275" sldId="1165"/>
            <ac:spMk id="104" creationId="{EB36ED2B-B689-BEE6-8A93-0A4150F24430}"/>
          </ac:spMkLst>
        </pc:spChg>
        <pc:spChg chg="del">
          <ac:chgData name="Diego Silva López" userId="67f100cc-0814-41a5-8287-6944f8ffb70c" providerId="ADAL" clId="{1891EBD6-F12C-46AF-9500-5A9ACE80F059}" dt="2022-07-05T12:26:05.851" v="0" actId="478"/>
          <ac:spMkLst>
            <pc:docMk/>
            <pc:sldMk cId="2976143275" sldId="1165"/>
            <ac:spMk id="105" creationId="{06081D7C-D247-35E9-5D50-37692EEB0BFC}"/>
          </ac:spMkLst>
        </pc:spChg>
        <pc:spChg chg="del">
          <ac:chgData name="Diego Silva López" userId="67f100cc-0814-41a5-8287-6944f8ffb70c" providerId="ADAL" clId="{1891EBD6-F12C-46AF-9500-5A9ACE80F059}" dt="2022-07-05T12:26:05.851" v="0" actId="478"/>
          <ac:spMkLst>
            <pc:docMk/>
            <pc:sldMk cId="2976143275" sldId="1165"/>
            <ac:spMk id="106" creationId="{9B77772F-E78D-DBE9-62BC-4185AAECAD7A}"/>
          </ac:spMkLst>
        </pc:spChg>
        <pc:picChg chg="del">
          <ac:chgData name="Diego Silva López" userId="67f100cc-0814-41a5-8287-6944f8ffb70c" providerId="ADAL" clId="{1891EBD6-F12C-46AF-9500-5A9ACE80F059}" dt="2022-07-05T12:26:05.851" v="0" actId="478"/>
          <ac:picMkLst>
            <pc:docMk/>
            <pc:sldMk cId="2976143275" sldId="1165"/>
            <ac:picMk id="91" creationId="{6CD29059-CE11-BD24-8BEB-470E32263F23}"/>
          </ac:picMkLst>
        </pc:picChg>
        <pc:picChg chg="del">
          <ac:chgData name="Diego Silva López" userId="67f100cc-0814-41a5-8287-6944f8ffb70c" providerId="ADAL" clId="{1891EBD6-F12C-46AF-9500-5A9ACE80F059}" dt="2022-07-05T12:26:05.851" v="0" actId="478"/>
          <ac:picMkLst>
            <pc:docMk/>
            <pc:sldMk cId="2976143275" sldId="1165"/>
            <ac:picMk id="93" creationId="{93EACA8A-D27A-B697-5861-69EC7F49B580}"/>
          </ac:picMkLst>
        </pc:picChg>
        <pc:picChg chg="del">
          <ac:chgData name="Diego Silva López" userId="67f100cc-0814-41a5-8287-6944f8ffb70c" providerId="ADAL" clId="{1891EBD6-F12C-46AF-9500-5A9ACE80F059}" dt="2022-07-05T12:26:05.851" v="0" actId="478"/>
          <ac:picMkLst>
            <pc:docMk/>
            <pc:sldMk cId="2976143275" sldId="1165"/>
            <ac:picMk id="97" creationId="{C2C1BFB7-090C-C2EF-0B2E-4861019567D0}"/>
          </ac:picMkLst>
        </pc:picChg>
        <pc:picChg chg="del">
          <ac:chgData name="Diego Silva López" userId="67f100cc-0814-41a5-8287-6944f8ffb70c" providerId="ADAL" clId="{1891EBD6-F12C-46AF-9500-5A9ACE80F059}" dt="2022-07-05T12:26:05.851" v="0" actId="478"/>
          <ac:picMkLst>
            <pc:docMk/>
            <pc:sldMk cId="2976143275" sldId="1165"/>
            <ac:picMk id="99" creationId="{1AE8168E-314C-154D-2290-E11CB4E51EF1}"/>
          </ac:picMkLst>
        </pc:picChg>
        <pc:picChg chg="del">
          <ac:chgData name="Diego Silva López" userId="67f100cc-0814-41a5-8287-6944f8ffb70c" providerId="ADAL" clId="{1891EBD6-F12C-46AF-9500-5A9ACE80F059}" dt="2022-07-05T12:26:05.851" v="0" actId="478"/>
          <ac:picMkLst>
            <pc:docMk/>
            <pc:sldMk cId="2976143275" sldId="1165"/>
            <ac:picMk id="107" creationId="{20CEF8E1-8401-2581-652B-A6490F7A92E9}"/>
          </ac:picMkLst>
        </pc:picChg>
        <pc:picChg chg="del">
          <ac:chgData name="Diego Silva López" userId="67f100cc-0814-41a5-8287-6944f8ffb70c" providerId="ADAL" clId="{1891EBD6-F12C-46AF-9500-5A9ACE80F059}" dt="2022-07-05T12:26:05.851" v="0" actId="478"/>
          <ac:picMkLst>
            <pc:docMk/>
            <pc:sldMk cId="2976143275" sldId="1165"/>
            <ac:picMk id="108" creationId="{5E2B6BDD-0152-7148-040B-261BB56C4F6A}"/>
          </ac:picMkLst>
        </pc:picChg>
        <pc:cxnChg chg="mod">
          <ac:chgData name="Diego Silva López" userId="67f100cc-0814-41a5-8287-6944f8ffb70c" providerId="ADAL" clId="{1891EBD6-F12C-46AF-9500-5A9ACE80F059}" dt="2022-07-05T12:26:17.425" v="2" actId="1076"/>
          <ac:cxnSpMkLst>
            <pc:docMk/>
            <pc:sldMk cId="2976143275" sldId="1165"/>
            <ac:cxnSpMk id="59" creationId="{DF0D225F-06A1-287A-CEC2-B1FA30278A7C}"/>
          </ac:cxnSpMkLst>
        </pc:cxnChg>
        <pc:cxnChg chg="mod">
          <ac:chgData name="Diego Silva López" userId="67f100cc-0814-41a5-8287-6944f8ffb70c" providerId="ADAL" clId="{1891EBD6-F12C-46AF-9500-5A9ACE80F059}" dt="2022-07-05T12:26:17.425" v="2" actId="1076"/>
          <ac:cxnSpMkLst>
            <pc:docMk/>
            <pc:sldMk cId="2976143275" sldId="1165"/>
            <ac:cxnSpMk id="60" creationId="{700CFCDD-177A-948F-539F-8B1BC902181C}"/>
          </ac:cxnSpMkLst>
        </pc:cxnChg>
        <pc:cxnChg chg="mod">
          <ac:chgData name="Diego Silva López" userId="67f100cc-0814-41a5-8287-6944f8ffb70c" providerId="ADAL" clId="{1891EBD6-F12C-46AF-9500-5A9ACE80F059}" dt="2022-07-05T12:26:17.425" v="2" actId="1076"/>
          <ac:cxnSpMkLst>
            <pc:docMk/>
            <pc:sldMk cId="2976143275" sldId="1165"/>
            <ac:cxnSpMk id="61" creationId="{074B4CF9-F16F-DF82-AA76-6EBD5BC033F2}"/>
          </ac:cxnSpMkLst>
        </pc:cxnChg>
        <pc:cxnChg chg="mod">
          <ac:chgData name="Diego Silva López" userId="67f100cc-0814-41a5-8287-6944f8ffb70c" providerId="ADAL" clId="{1891EBD6-F12C-46AF-9500-5A9ACE80F059}" dt="2022-07-05T12:26:17.425" v="2" actId="1076"/>
          <ac:cxnSpMkLst>
            <pc:docMk/>
            <pc:sldMk cId="2976143275" sldId="1165"/>
            <ac:cxnSpMk id="62" creationId="{5B594F17-BC72-D163-73A7-15839DB5055D}"/>
          </ac:cxnSpMkLst>
        </pc:cxnChg>
        <pc:cxnChg chg="mod">
          <ac:chgData name="Diego Silva López" userId="67f100cc-0814-41a5-8287-6944f8ffb70c" providerId="ADAL" clId="{1891EBD6-F12C-46AF-9500-5A9ACE80F059}" dt="2022-07-05T12:26:17.425" v="2" actId="1076"/>
          <ac:cxnSpMkLst>
            <pc:docMk/>
            <pc:sldMk cId="2976143275" sldId="1165"/>
            <ac:cxnSpMk id="67" creationId="{0492A65B-653E-4935-4EAA-15CC9766298C}"/>
          </ac:cxnSpMkLst>
        </pc:cxnChg>
        <pc:cxnChg chg="del">
          <ac:chgData name="Diego Silva López" userId="67f100cc-0814-41a5-8287-6944f8ffb70c" providerId="ADAL" clId="{1891EBD6-F12C-46AF-9500-5A9ACE80F059}" dt="2022-07-05T12:26:05.851" v="0" actId="478"/>
          <ac:cxnSpMkLst>
            <pc:docMk/>
            <pc:sldMk cId="2976143275" sldId="1165"/>
            <ac:cxnSpMk id="103" creationId="{09AF6214-B378-0D1E-D203-E2645E472725}"/>
          </ac:cxnSpMkLst>
        </pc:cxnChg>
      </pc:sldChg>
      <pc:sldChg chg="delSp add del mod">
        <pc:chgData name="Diego Silva López" userId="67f100cc-0814-41a5-8287-6944f8ffb70c" providerId="ADAL" clId="{1891EBD6-F12C-46AF-9500-5A9ACE80F059}" dt="2022-07-05T12:34:55.832" v="28" actId="47"/>
        <pc:sldMkLst>
          <pc:docMk/>
          <pc:sldMk cId="2289646041" sldId="1175"/>
        </pc:sldMkLst>
        <pc:spChg chg="del">
          <ac:chgData name="Diego Silva López" userId="67f100cc-0814-41a5-8287-6944f8ffb70c" providerId="ADAL" clId="{1891EBD6-F12C-46AF-9500-5A9ACE80F059}" dt="2022-07-05T12:34:39.398" v="17" actId="21"/>
          <ac:spMkLst>
            <pc:docMk/>
            <pc:sldMk cId="2289646041" sldId="1175"/>
            <ac:spMk id="20" creationId="{388E6499-5EB4-65B3-C5AB-963096DE48E7}"/>
          </ac:spMkLst>
        </pc:spChg>
        <pc:spChg chg="del">
          <ac:chgData name="Diego Silva López" userId="67f100cc-0814-41a5-8287-6944f8ffb70c" providerId="ADAL" clId="{1891EBD6-F12C-46AF-9500-5A9ACE80F059}" dt="2022-07-05T12:34:39.398" v="17" actId="21"/>
          <ac:spMkLst>
            <pc:docMk/>
            <pc:sldMk cId="2289646041" sldId="1175"/>
            <ac:spMk id="47" creationId="{D4EE62A2-7148-2727-F395-C304D0CD1428}"/>
          </ac:spMkLst>
        </pc:spChg>
      </pc:sldChg>
      <pc:sldChg chg="addSp delSp modSp add mod ord">
        <pc:chgData name="Diego Silva López" userId="67f100cc-0814-41a5-8287-6944f8ffb70c" providerId="ADAL" clId="{1891EBD6-F12C-46AF-9500-5A9ACE80F059}" dt="2022-07-05T12:31:22.559" v="10"/>
        <pc:sldMkLst>
          <pc:docMk/>
          <pc:sldMk cId="3105783802" sldId="1189"/>
        </pc:sldMkLst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29" creationId="{A520634B-7547-44A5-8BA9-0C25A19F1FDD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30" creationId="{297D9B5D-3E13-4D0C-B0AF-89FDF517DE4B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36" creationId="{BEF56376-3D10-41EE-A8FF-8370E0CAA736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37" creationId="{45E80A4C-EDC7-7FDE-3CA6-A4503964FB9F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38" creationId="{90CC8F54-FCF8-0B1D-8941-E6DAFEF70F5E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40" creationId="{7EE30001-3D29-936B-FA12-341C6CC38E55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41" creationId="{C6CA7CAB-64F6-82A0-0C3E-4E0AFF94320B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42" creationId="{32DFA7EB-FF5B-21B5-1827-3A0C5C9B6C88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43" creationId="{F56ECC7D-2F32-CC4A-D76C-8E2EEE8DB3B1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44" creationId="{B36FFA0A-943C-5C15-F485-B5DAC7E9CCEE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45" creationId="{7FD3306C-7B1C-3CE3-B67D-38E470E852E0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46" creationId="{812DB37D-ECA4-954E-4672-398F250794B6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47" creationId="{CD2FC453-3ADF-D21B-059A-D1F038F04891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48" creationId="{47028E70-29BB-33A1-F589-E319C5C93BA7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54" creationId="{D1BEF3AF-AB85-1AB4-9770-6475F57D244A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55" creationId="{D004DEF9-D061-A02B-F484-7257E9CF302B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56" creationId="{F84B6F1A-B45A-8F55-C322-53B0325C379E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61" creationId="{161225AE-F4A2-4411-9A02-616F978EEE5F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63" creationId="{DC30B773-817E-8256-F489-F2FAE4218246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64" creationId="{98DCB461-C1E9-4723-BBB0-2CAC8FC3620B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65" creationId="{6CFDB7D0-9286-6018-4A92-DDB8ADF623CF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66" creationId="{109BC9EA-0612-477D-8046-3EB9A5B2B1ED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67" creationId="{96DF07F1-5965-5E82-9F3E-582FA4E8CF40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68" creationId="{CC0163FB-AE62-46A2-9AF9-00EF27DFD94E}"/>
          </ac:spMkLst>
        </pc:spChg>
        <pc:spChg chg="del">
          <ac:chgData name="Diego Silva López" userId="67f100cc-0814-41a5-8287-6944f8ffb70c" providerId="ADAL" clId="{1891EBD6-F12C-46AF-9500-5A9ACE80F059}" dt="2022-07-05T12:28:50.683" v="4" actId="478"/>
          <ac:spMkLst>
            <pc:docMk/>
            <pc:sldMk cId="3105783802" sldId="1189"/>
            <ac:spMk id="69" creationId="{4FED5763-3D6E-C600-E22D-7044FB93A0D1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70" creationId="{C6D892C9-C8BF-4440-4246-FCFBD66B5335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71" creationId="{39B7F576-1EB9-BA85-08C0-194C1E50B065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72" creationId="{29DE4001-924E-23D8-1B96-E2A651B2D6B0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73" creationId="{6F5038DB-CEBF-088D-2A67-2EFC316D760D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80" creationId="{A6D22F10-33BF-FA76-FF65-CED950F8E041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81" creationId="{7473FC2A-4C10-41A2-2158-4D79E47689F7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82" creationId="{28A3A62B-A012-C747-E0C2-0093FB93AA77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83" creationId="{D1631584-063C-049E-D5E7-0C3292D48587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84" creationId="{EF167B99-093A-DEFA-7118-2543085F9638}"/>
          </ac:spMkLst>
        </pc:spChg>
        <pc:spChg chg="add mod">
          <ac:chgData name="Diego Silva López" userId="67f100cc-0814-41a5-8287-6944f8ffb70c" providerId="ADAL" clId="{1891EBD6-F12C-46AF-9500-5A9ACE80F059}" dt="2022-07-05T12:29:09.343" v="7"/>
          <ac:spMkLst>
            <pc:docMk/>
            <pc:sldMk cId="3105783802" sldId="1189"/>
            <ac:spMk id="85" creationId="{AE3BD93F-5A26-F1BB-1A7A-885722365BBB}"/>
          </ac:spMkLst>
        </pc:spChg>
        <pc:graphicFrameChg chg="del">
          <ac:chgData name="Diego Silva López" userId="67f100cc-0814-41a5-8287-6944f8ffb70c" providerId="ADAL" clId="{1891EBD6-F12C-46AF-9500-5A9ACE80F059}" dt="2022-07-05T12:28:50.683" v="4" actId="478"/>
          <ac:graphicFrameMkLst>
            <pc:docMk/>
            <pc:sldMk cId="3105783802" sldId="1189"/>
            <ac:graphicFrameMk id="25" creationId="{13A6E464-8545-4252-B385-89698DF37117}"/>
          </ac:graphicFrameMkLst>
        </pc:graphicFrameChg>
        <pc:graphicFrameChg chg="del">
          <ac:chgData name="Diego Silva López" userId="67f100cc-0814-41a5-8287-6944f8ffb70c" providerId="ADAL" clId="{1891EBD6-F12C-46AF-9500-5A9ACE80F059}" dt="2022-07-05T12:28:50.683" v="4" actId="478"/>
          <ac:graphicFrameMkLst>
            <pc:docMk/>
            <pc:sldMk cId="3105783802" sldId="1189"/>
            <ac:graphicFrameMk id="26" creationId="{63FD3584-4AD4-4662-8F25-5BB8A10102D7}"/>
          </ac:graphicFrameMkLst>
        </pc:graphicFrameChg>
        <pc:graphicFrameChg chg="del">
          <ac:chgData name="Diego Silva López" userId="67f100cc-0814-41a5-8287-6944f8ffb70c" providerId="ADAL" clId="{1891EBD6-F12C-46AF-9500-5A9ACE80F059}" dt="2022-07-05T12:28:50.683" v="4" actId="478"/>
          <ac:graphicFrameMkLst>
            <pc:docMk/>
            <pc:sldMk cId="3105783802" sldId="1189"/>
            <ac:graphicFrameMk id="31" creationId="{BEA8CE29-84F8-4326-A285-1EDB12094442}"/>
          </ac:graphicFrameMkLst>
        </pc:graphicFrameChg>
        <pc:graphicFrameChg chg="del">
          <ac:chgData name="Diego Silva López" userId="67f100cc-0814-41a5-8287-6944f8ffb70c" providerId="ADAL" clId="{1891EBD6-F12C-46AF-9500-5A9ACE80F059}" dt="2022-07-05T12:28:50.683" v="4" actId="478"/>
          <ac:graphicFrameMkLst>
            <pc:docMk/>
            <pc:sldMk cId="3105783802" sldId="1189"/>
            <ac:graphicFrameMk id="33" creationId="{7F738294-B852-4D3D-B6CC-89AA02EFD912}"/>
          </ac:graphicFrameMkLst>
        </pc:graphicFrameChg>
        <pc:graphicFrameChg chg="del">
          <ac:chgData name="Diego Silva López" userId="67f100cc-0814-41a5-8287-6944f8ffb70c" providerId="ADAL" clId="{1891EBD6-F12C-46AF-9500-5A9ACE80F059}" dt="2022-07-05T12:28:50.683" v="4" actId="478"/>
          <ac:graphicFrameMkLst>
            <pc:docMk/>
            <pc:sldMk cId="3105783802" sldId="1189"/>
            <ac:graphicFrameMk id="59" creationId="{57DA930B-A80B-4489-AE48-C646119107F1}"/>
          </ac:graphicFrameMkLst>
        </pc:graphicFrameChg>
        <pc:graphicFrameChg chg="del">
          <ac:chgData name="Diego Silva López" userId="67f100cc-0814-41a5-8287-6944f8ffb70c" providerId="ADAL" clId="{1891EBD6-F12C-46AF-9500-5A9ACE80F059}" dt="2022-07-05T12:28:50.683" v="4" actId="478"/>
          <ac:graphicFrameMkLst>
            <pc:docMk/>
            <pc:sldMk cId="3105783802" sldId="1189"/>
            <ac:graphicFrameMk id="62" creationId="{853FB35C-E731-41E8-8317-19E644AC6223}"/>
          </ac:graphicFrameMkLst>
        </pc:graphicFrameChg>
        <pc:picChg chg="del">
          <ac:chgData name="Diego Silva López" userId="67f100cc-0814-41a5-8287-6944f8ffb70c" providerId="ADAL" clId="{1891EBD6-F12C-46AF-9500-5A9ACE80F059}" dt="2022-07-05T12:28:50.683" v="4" actId="478"/>
          <ac:picMkLst>
            <pc:docMk/>
            <pc:sldMk cId="3105783802" sldId="1189"/>
            <ac:picMk id="35" creationId="{101F3051-4618-47FD-BF12-B2C7625C924F}"/>
          </ac:picMkLst>
        </pc:picChg>
        <pc:picChg chg="del">
          <ac:chgData name="Diego Silva López" userId="67f100cc-0814-41a5-8287-6944f8ffb70c" providerId="ADAL" clId="{1891EBD6-F12C-46AF-9500-5A9ACE80F059}" dt="2022-07-05T12:28:50.683" v="4" actId="478"/>
          <ac:picMkLst>
            <pc:docMk/>
            <pc:sldMk cId="3105783802" sldId="1189"/>
            <ac:picMk id="49" creationId="{9FF20CE2-BF26-E4B5-048B-CBEB04730C0F}"/>
          </ac:picMkLst>
        </pc:picChg>
        <pc:picChg chg="del">
          <ac:chgData name="Diego Silva López" userId="67f100cc-0814-41a5-8287-6944f8ffb70c" providerId="ADAL" clId="{1891EBD6-F12C-46AF-9500-5A9ACE80F059}" dt="2022-07-05T12:28:50.683" v="4" actId="478"/>
          <ac:picMkLst>
            <pc:docMk/>
            <pc:sldMk cId="3105783802" sldId="1189"/>
            <ac:picMk id="50" creationId="{4FCFC4A5-834F-8395-3E42-295E947BBD4E}"/>
          </ac:picMkLst>
        </pc:picChg>
        <pc:picChg chg="del">
          <ac:chgData name="Diego Silva López" userId="67f100cc-0814-41a5-8287-6944f8ffb70c" providerId="ADAL" clId="{1891EBD6-F12C-46AF-9500-5A9ACE80F059}" dt="2022-07-05T12:28:50.683" v="4" actId="478"/>
          <ac:picMkLst>
            <pc:docMk/>
            <pc:sldMk cId="3105783802" sldId="1189"/>
            <ac:picMk id="51" creationId="{E9A57270-F36C-24B8-82EA-4BF1A540E2BA}"/>
          </ac:picMkLst>
        </pc:picChg>
        <pc:picChg chg="del">
          <ac:chgData name="Diego Silva López" userId="67f100cc-0814-41a5-8287-6944f8ffb70c" providerId="ADAL" clId="{1891EBD6-F12C-46AF-9500-5A9ACE80F059}" dt="2022-07-05T12:28:50.683" v="4" actId="478"/>
          <ac:picMkLst>
            <pc:docMk/>
            <pc:sldMk cId="3105783802" sldId="1189"/>
            <ac:picMk id="52" creationId="{B3A0686E-7145-F0F0-12E3-3357A17EA972}"/>
          </ac:picMkLst>
        </pc:picChg>
        <pc:picChg chg="del">
          <ac:chgData name="Diego Silva López" userId="67f100cc-0814-41a5-8287-6944f8ffb70c" providerId="ADAL" clId="{1891EBD6-F12C-46AF-9500-5A9ACE80F059}" dt="2022-07-05T12:28:50.683" v="4" actId="478"/>
          <ac:picMkLst>
            <pc:docMk/>
            <pc:sldMk cId="3105783802" sldId="1189"/>
            <ac:picMk id="57" creationId="{41B474B6-D0C6-41A0-9024-AF38F0A54D8F}"/>
          </ac:picMkLst>
        </pc:picChg>
        <pc:picChg chg="del">
          <ac:chgData name="Diego Silva López" userId="67f100cc-0814-41a5-8287-6944f8ffb70c" providerId="ADAL" clId="{1891EBD6-F12C-46AF-9500-5A9ACE80F059}" dt="2022-07-05T12:28:50.683" v="4" actId="478"/>
          <ac:picMkLst>
            <pc:docMk/>
            <pc:sldMk cId="3105783802" sldId="1189"/>
            <ac:picMk id="58" creationId="{653BC27B-201C-48E7-AF67-1D66E569B654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74" creationId="{1AC4EF4C-4349-1C80-4857-5B600B190F12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75" creationId="{87789805-C03C-ADCE-D2DE-A5D32BEFF9A1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76" creationId="{7C80F9FB-CD4F-927C-AD10-73EBE64FF0A3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77" creationId="{7E12D309-73C7-6F88-A2D0-E7CA8BA5C0AC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78" creationId="{E48EBAAC-ED7C-89A2-762D-C9C3A8455868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79" creationId="{BFEBE1C0-FC94-A02C-0871-67E4612BF9D7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86" creationId="{AF0A7471-298A-0C12-FFE0-C135643DB8F4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87" creationId="{F1D1CB99-41D2-CE76-1313-34ADBF6A8262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88" creationId="{DFFA8094-F4F1-B73A-871F-26AA66F1FF9A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89" creationId="{78CE5B4E-E6ED-E392-F78B-666E7F5F28EA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90" creationId="{DAD7E2FE-4B83-A189-C550-D89A6AB8E237}"/>
          </ac:picMkLst>
        </pc:picChg>
        <pc:picChg chg="add mod">
          <ac:chgData name="Diego Silva López" userId="67f100cc-0814-41a5-8287-6944f8ffb70c" providerId="ADAL" clId="{1891EBD6-F12C-46AF-9500-5A9ACE80F059}" dt="2022-07-05T12:29:09.343" v="7"/>
          <ac:picMkLst>
            <pc:docMk/>
            <pc:sldMk cId="3105783802" sldId="1189"/>
            <ac:picMk id="91" creationId="{FF4E0419-AD7E-0CA1-1641-6A9608D63764}"/>
          </ac:picMkLst>
        </pc:picChg>
      </pc:sldChg>
    </pc:docChg>
  </pc:docChgLst>
  <pc:docChgLst>
    <pc:chgData name="Diego Silva López" userId="67f100cc-0814-41a5-8287-6944f8ffb70c" providerId="ADAL" clId="{38DB6EF5-CD01-4C90-B367-C4267EA4E68E}"/>
    <pc:docChg chg="undo custSel addSld delSld modSld sldOrd">
      <pc:chgData name="Diego Silva López" userId="67f100cc-0814-41a5-8287-6944f8ffb70c" providerId="ADAL" clId="{38DB6EF5-CD01-4C90-B367-C4267EA4E68E}" dt="2022-08-18T18:17:14.691" v="177" actId="47"/>
      <pc:docMkLst>
        <pc:docMk/>
      </pc:docMkLst>
      <pc:sldChg chg="del">
        <pc:chgData name="Diego Silva López" userId="67f100cc-0814-41a5-8287-6944f8ffb70c" providerId="ADAL" clId="{38DB6EF5-CD01-4C90-B367-C4267EA4E68E}" dt="2022-08-17T13:03:21.148" v="0" actId="47"/>
        <pc:sldMkLst>
          <pc:docMk/>
          <pc:sldMk cId="3414514321" sldId="256"/>
        </pc:sldMkLst>
      </pc:sldChg>
      <pc:sldChg chg="delSp modSp add del mod ord">
        <pc:chgData name="Diego Silva López" userId="67f100cc-0814-41a5-8287-6944f8ffb70c" providerId="ADAL" clId="{38DB6EF5-CD01-4C90-B367-C4267EA4E68E}" dt="2022-08-18T18:17:07.682" v="175" actId="1076"/>
        <pc:sldMkLst>
          <pc:docMk/>
          <pc:sldMk cId="0" sldId="261"/>
        </pc:sldMkLst>
        <pc:spChg chg="del">
          <ac:chgData name="Diego Silva López" userId="67f100cc-0814-41a5-8287-6944f8ffb70c" providerId="ADAL" clId="{38DB6EF5-CD01-4C90-B367-C4267EA4E68E}" dt="2022-08-18T18:17:03.883" v="174" actId="478"/>
          <ac:spMkLst>
            <pc:docMk/>
            <pc:sldMk cId="0" sldId="261"/>
            <ac:spMk id="8" creationId="{00000000-0000-0000-0000-000000000000}"/>
          </ac:spMkLst>
        </pc:spChg>
        <pc:grpChg chg="mod">
          <ac:chgData name="Diego Silva López" userId="67f100cc-0814-41a5-8287-6944f8ffb70c" providerId="ADAL" clId="{38DB6EF5-CD01-4C90-B367-C4267EA4E68E}" dt="2022-08-18T18:17:07.682" v="175" actId="1076"/>
          <ac:grpSpMkLst>
            <pc:docMk/>
            <pc:sldMk cId="0" sldId="261"/>
            <ac:grpSpMk id="9" creationId="{00000000-0000-0000-0000-000000000000}"/>
          </ac:grpSpMkLst>
        </pc:grpChg>
      </pc:sldChg>
      <pc:sldChg chg="addSp modSp mod">
        <pc:chgData name="Diego Silva López" userId="67f100cc-0814-41a5-8287-6944f8ffb70c" providerId="ADAL" clId="{38DB6EF5-CD01-4C90-B367-C4267EA4E68E}" dt="2022-08-18T18:14:47.681" v="172" actId="1076"/>
        <pc:sldMkLst>
          <pc:docMk/>
          <pc:sldMk cId="298862538" sldId="277"/>
        </pc:sldMkLst>
        <pc:spChg chg="add mod">
          <ac:chgData name="Diego Silva López" userId="67f100cc-0814-41a5-8287-6944f8ffb70c" providerId="ADAL" clId="{38DB6EF5-CD01-4C90-B367-C4267EA4E68E}" dt="2022-08-18T18:14:47.681" v="172" actId="1076"/>
          <ac:spMkLst>
            <pc:docMk/>
            <pc:sldMk cId="298862538" sldId="277"/>
            <ac:spMk id="2" creationId="{07AE1F33-A203-EA78-4FA4-C74567783422}"/>
          </ac:spMkLst>
        </pc:spChg>
        <pc:spChg chg="mod">
          <ac:chgData name="Diego Silva López" userId="67f100cc-0814-41a5-8287-6944f8ffb70c" providerId="ADAL" clId="{38DB6EF5-CD01-4C90-B367-C4267EA4E68E}" dt="2022-08-18T18:14:16.461" v="110" actId="20577"/>
          <ac:spMkLst>
            <pc:docMk/>
            <pc:sldMk cId="298862538" sldId="277"/>
            <ac:spMk id="13" creationId="{8D85FEA8-40A1-6748-A2C9-F29C889DD902}"/>
          </ac:spMkLst>
        </pc:spChg>
      </pc:sldChg>
      <pc:sldChg chg="del">
        <pc:chgData name="Diego Silva López" userId="67f100cc-0814-41a5-8287-6944f8ffb70c" providerId="ADAL" clId="{38DB6EF5-CD01-4C90-B367-C4267EA4E68E}" dt="2022-08-18T18:17:12.012" v="176" actId="47"/>
        <pc:sldMkLst>
          <pc:docMk/>
          <pc:sldMk cId="2473937384" sldId="1094"/>
        </pc:sldMkLst>
      </pc:sldChg>
      <pc:sldChg chg="del">
        <pc:chgData name="Diego Silva López" userId="67f100cc-0814-41a5-8287-6944f8ffb70c" providerId="ADAL" clId="{38DB6EF5-CD01-4C90-B367-C4267EA4E68E}" dt="2022-08-18T18:15:04.601" v="173" actId="47"/>
        <pc:sldMkLst>
          <pc:docMk/>
          <pc:sldMk cId="2398568724" sldId="1148"/>
        </pc:sldMkLst>
      </pc:sldChg>
      <pc:sldChg chg="delSp mod">
        <pc:chgData name="Diego Silva López" userId="67f100cc-0814-41a5-8287-6944f8ffb70c" providerId="ADAL" clId="{38DB6EF5-CD01-4C90-B367-C4267EA4E68E}" dt="2022-08-18T16:44:12.801" v="91" actId="478"/>
        <pc:sldMkLst>
          <pc:docMk/>
          <pc:sldMk cId="1964452394" sldId="1150"/>
        </pc:sldMkLst>
        <pc:spChg chg="del">
          <ac:chgData name="Diego Silva López" userId="67f100cc-0814-41a5-8287-6944f8ffb70c" providerId="ADAL" clId="{38DB6EF5-CD01-4C90-B367-C4267EA4E68E}" dt="2022-08-18T16:44:12.801" v="91" actId="478"/>
          <ac:spMkLst>
            <pc:docMk/>
            <pc:sldMk cId="1964452394" sldId="1150"/>
            <ac:spMk id="47" creationId="{964C6096-B8E6-6CE4-00A1-9B6E9E2125D9}"/>
          </ac:spMkLst>
        </pc:spChg>
        <pc:spChg chg="del">
          <ac:chgData name="Diego Silva López" userId="67f100cc-0814-41a5-8287-6944f8ffb70c" providerId="ADAL" clId="{38DB6EF5-CD01-4C90-B367-C4267EA4E68E}" dt="2022-08-18T16:44:11.513" v="90" actId="478"/>
          <ac:spMkLst>
            <pc:docMk/>
            <pc:sldMk cId="1964452394" sldId="1150"/>
            <ac:spMk id="49" creationId="{F2CFF0A0-8FD7-F69B-2493-9521AB395A04}"/>
          </ac:spMkLst>
        </pc:spChg>
      </pc:sldChg>
      <pc:sldChg chg="del">
        <pc:chgData name="Diego Silva López" userId="67f100cc-0814-41a5-8287-6944f8ffb70c" providerId="ADAL" clId="{38DB6EF5-CD01-4C90-B367-C4267EA4E68E}" dt="2022-08-18T18:17:14.691" v="177" actId="47"/>
        <pc:sldMkLst>
          <pc:docMk/>
          <pc:sldMk cId="1162222932" sldId="1152"/>
        </pc:sldMkLst>
      </pc:sldChg>
      <pc:sldChg chg="ord">
        <pc:chgData name="Diego Silva López" userId="67f100cc-0814-41a5-8287-6944f8ffb70c" providerId="ADAL" clId="{38DB6EF5-CD01-4C90-B367-C4267EA4E68E}" dt="2022-08-17T13:04:36.615" v="63"/>
        <pc:sldMkLst>
          <pc:docMk/>
          <pc:sldMk cId="914876002" sldId="1156"/>
        </pc:sldMkLst>
      </pc:sldChg>
      <pc:sldChg chg="modSp mod">
        <pc:chgData name="Diego Silva López" userId="67f100cc-0814-41a5-8287-6944f8ffb70c" providerId="ADAL" clId="{38DB6EF5-CD01-4C90-B367-C4267EA4E68E}" dt="2022-08-18T18:14:00.010" v="106" actId="20577"/>
        <pc:sldMkLst>
          <pc:docMk/>
          <pc:sldMk cId="1976185135" sldId="1174"/>
        </pc:sldMkLst>
        <pc:spChg chg="mod">
          <ac:chgData name="Diego Silva López" userId="67f100cc-0814-41a5-8287-6944f8ffb70c" providerId="ADAL" clId="{38DB6EF5-CD01-4C90-B367-C4267EA4E68E}" dt="2022-08-18T18:14:00.010" v="106" actId="20577"/>
          <ac:spMkLst>
            <pc:docMk/>
            <pc:sldMk cId="1976185135" sldId="1174"/>
            <ac:spMk id="184" creationId="{8E053A6B-37B1-BC44-3788-84827E514944}"/>
          </ac:spMkLst>
        </pc:spChg>
      </pc:sldChg>
      <pc:sldChg chg="delSp modSp mod">
        <pc:chgData name="Diego Silva López" userId="67f100cc-0814-41a5-8287-6944f8ffb70c" providerId="ADAL" clId="{38DB6EF5-CD01-4C90-B367-C4267EA4E68E}" dt="2022-08-17T13:05:48.635" v="87" actId="1076"/>
        <pc:sldMkLst>
          <pc:docMk/>
          <pc:sldMk cId="3948004259" sldId="1178"/>
        </pc:sldMkLst>
        <pc:spChg chg="mod">
          <ac:chgData name="Diego Silva López" userId="67f100cc-0814-41a5-8287-6944f8ffb70c" providerId="ADAL" clId="{38DB6EF5-CD01-4C90-B367-C4267EA4E68E}" dt="2022-08-17T13:05:48.635" v="87" actId="1076"/>
          <ac:spMkLst>
            <pc:docMk/>
            <pc:sldMk cId="3948004259" sldId="1178"/>
            <ac:spMk id="5" creationId="{D271D2E7-E427-791D-6B6C-085072E278E1}"/>
          </ac:spMkLst>
        </pc:spChg>
        <pc:spChg chg="del mod">
          <ac:chgData name="Diego Silva López" userId="67f100cc-0814-41a5-8287-6944f8ffb70c" providerId="ADAL" clId="{38DB6EF5-CD01-4C90-B367-C4267EA4E68E}" dt="2022-08-17T13:04:32.277" v="61"/>
          <ac:spMkLst>
            <pc:docMk/>
            <pc:sldMk cId="3948004259" sldId="1178"/>
            <ac:spMk id="6" creationId="{2DF72D05-1F88-B5BC-B3FE-E238D7BA2E14}"/>
          </ac:spMkLst>
        </pc:spChg>
        <pc:spChg chg="mod">
          <ac:chgData name="Diego Silva López" userId="67f100cc-0814-41a5-8287-6944f8ffb70c" providerId="ADAL" clId="{38DB6EF5-CD01-4C90-B367-C4267EA4E68E}" dt="2022-08-17T13:04:27.231" v="59" actId="20577"/>
          <ac:spMkLst>
            <pc:docMk/>
            <pc:sldMk cId="3948004259" sldId="1178"/>
            <ac:spMk id="8" creationId="{E9FD4C2E-83C7-BC45-7FFD-C137AD6A078B}"/>
          </ac:spMkLst>
        </pc:spChg>
      </pc:sldChg>
      <pc:sldChg chg="del">
        <pc:chgData name="Diego Silva López" userId="67f100cc-0814-41a5-8287-6944f8ffb70c" providerId="ADAL" clId="{38DB6EF5-CD01-4C90-B367-C4267EA4E68E}" dt="2022-08-17T13:04:08.129" v="36" actId="47"/>
        <pc:sldMkLst>
          <pc:docMk/>
          <pc:sldMk cId="1658719790" sldId="1179"/>
        </pc:sldMkLst>
      </pc:sldChg>
      <pc:sldChg chg="del">
        <pc:chgData name="Diego Silva López" userId="67f100cc-0814-41a5-8287-6944f8ffb70c" providerId="ADAL" clId="{38DB6EF5-CD01-4C90-B367-C4267EA4E68E}" dt="2022-08-17T13:03:45.823" v="27" actId="47"/>
        <pc:sldMkLst>
          <pc:docMk/>
          <pc:sldMk cId="1081788011" sldId="1180"/>
        </pc:sldMkLst>
      </pc:sldChg>
      <pc:sldChg chg="del">
        <pc:chgData name="Diego Silva López" userId="67f100cc-0814-41a5-8287-6944f8ffb70c" providerId="ADAL" clId="{38DB6EF5-CD01-4C90-B367-C4267EA4E68E}" dt="2022-08-17T13:03:47.057" v="29" actId="47"/>
        <pc:sldMkLst>
          <pc:docMk/>
          <pc:sldMk cId="1724687837" sldId="1181"/>
        </pc:sldMkLst>
      </pc:sldChg>
      <pc:sldChg chg="del">
        <pc:chgData name="Diego Silva López" userId="67f100cc-0814-41a5-8287-6944f8ffb70c" providerId="ADAL" clId="{38DB6EF5-CD01-4C90-B367-C4267EA4E68E}" dt="2022-08-17T13:04:09.433" v="37" actId="47"/>
        <pc:sldMkLst>
          <pc:docMk/>
          <pc:sldMk cId="1017184850" sldId="1182"/>
        </pc:sldMkLst>
      </pc:sldChg>
      <pc:sldChg chg="del">
        <pc:chgData name="Diego Silva López" userId="67f100cc-0814-41a5-8287-6944f8ffb70c" providerId="ADAL" clId="{38DB6EF5-CD01-4C90-B367-C4267EA4E68E}" dt="2022-08-17T13:04:11.523" v="39" actId="47"/>
        <pc:sldMkLst>
          <pc:docMk/>
          <pc:sldMk cId="80096303" sldId="1183"/>
        </pc:sldMkLst>
      </pc:sldChg>
      <pc:sldChg chg="del">
        <pc:chgData name="Diego Silva López" userId="67f100cc-0814-41a5-8287-6944f8ffb70c" providerId="ADAL" clId="{38DB6EF5-CD01-4C90-B367-C4267EA4E68E}" dt="2022-08-17T13:03:47.623" v="30" actId="47"/>
        <pc:sldMkLst>
          <pc:docMk/>
          <pc:sldMk cId="1637181102" sldId="1184"/>
        </pc:sldMkLst>
      </pc:sldChg>
      <pc:sldChg chg="del">
        <pc:chgData name="Diego Silva López" userId="67f100cc-0814-41a5-8287-6944f8ffb70c" providerId="ADAL" clId="{38DB6EF5-CD01-4C90-B367-C4267EA4E68E}" dt="2022-08-17T13:03:50.047" v="31" actId="47"/>
        <pc:sldMkLst>
          <pc:docMk/>
          <pc:sldMk cId="490969544" sldId="1185"/>
        </pc:sldMkLst>
      </pc:sldChg>
      <pc:sldChg chg="del">
        <pc:chgData name="Diego Silva López" userId="67f100cc-0814-41a5-8287-6944f8ffb70c" providerId="ADAL" clId="{38DB6EF5-CD01-4C90-B367-C4267EA4E68E}" dt="2022-08-17T13:04:10.544" v="38" actId="47"/>
        <pc:sldMkLst>
          <pc:docMk/>
          <pc:sldMk cId="2649950924" sldId="1186"/>
        </pc:sldMkLst>
      </pc:sldChg>
      <pc:sldChg chg="del">
        <pc:chgData name="Diego Silva López" userId="67f100cc-0814-41a5-8287-6944f8ffb70c" providerId="ADAL" clId="{38DB6EF5-CD01-4C90-B367-C4267EA4E68E}" dt="2022-08-17T13:03:46.547" v="28" actId="47"/>
        <pc:sldMkLst>
          <pc:docMk/>
          <pc:sldMk cId="3348592536" sldId="1188"/>
        </pc:sldMkLst>
      </pc:sldChg>
      <pc:sldChg chg="modSp del mod">
        <pc:chgData name="Diego Silva López" userId="67f100cc-0814-41a5-8287-6944f8ffb70c" providerId="ADAL" clId="{38DB6EF5-CD01-4C90-B367-C4267EA4E68E}" dt="2022-08-17T13:04:16.862" v="40" actId="47"/>
        <pc:sldMkLst>
          <pc:docMk/>
          <pc:sldMk cId="192434117" sldId="1190"/>
        </pc:sldMkLst>
        <pc:spChg chg="mod">
          <ac:chgData name="Diego Silva López" userId="67f100cc-0814-41a5-8287-6944f8ffb70c" providerId="ADAL" clId="{38DB6EF5-CD01-4C90-B367-C4267EA4E68E}" dt="2022-08-17T13:03:44.011" v="26" actId="122"/>
          <ac:spMkLst>
            <pc:docMk/>
            <pc:sldMk cId="192434117" sldId="1190"/>
            <ac:spMk id="14" creationId="{3D4A0B22-700E-714F-84C5-235670F2161A}"/>
          </ac:spMkLst>
        </pc:spChg>
        <pc:spChg chg="mod">
          <ac:chgData name="Diego Silva López" userId="67f100cc-0814-41a5-8287-6944f8ffb70c" providerId="ADAL" clId="{38DB6EF5-CD01-4C90-B367-C4267EA4E68E}" dt="2022-08-17T13:03:38.121" v="25" actId="20577"/>
          <ac:spMkLst>
            <pc:docMk/>
            <pc:sldMk cId="192434117" sldId="1190"/>
            <ac:spMk id="17" creationId="{E386CB56-BBA5-844E-9974-DBA76D202A9E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A2051BE6-BD48-4ED5-B7EA-15BF100388D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275" cy="498446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EECDC116-D0A2-44F3-B92B-991E3D1F05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862" y="1"/>
            <a:ext cx="2946275" cy="498446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200"/>
            </a:lvl1pPr>
          </a:lstStyle>
          <a:p>
            <a:fld id="{F2C07B89-0812-4473-B1A2-25A128442D5A}" type="datetimeFigureOut">
              <a:rPr lang="es-CL" smtClean="0"/>
              <a:t>18-08-2022</a:t>
            </a:fld>
            <a:endParaRPr lang="es-CL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B23249F-7D96-43BA-9702-1977A064A75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" y="9429781"/>
            <a:ext cx="2946275" cy="498446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8E9C8F31-D720-4BC5-B8C9-359C31D0C6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862" y="9429781"/>
            <a:ext cx="2946275" cy="498446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200"/>
            </a:lvl1pPr>
          </a:lstStyle>
          <a:p>
            <a:fld id="{4276DC58-2A4B-41C7-BBC0-4D66D35785CC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929777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411"/>
          </a:xfrm>
          <a:prstGeom prst="rect">
            <a:avLst/>
          </a:prstGeom>
        </p:spPr>
        <p:txBody>
          <a:bodyPr vert="horz" lIns="93167" tIns="46585" rIns="93167" bIns="46585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411"/>
          </a:xfrm>
          <a:prstGeom prst="rect">
            <a:avLst/>
          </a:prstGeom>
        </p:spPr>
        <p:txBody>
          <a:bodyPr vert="horz" lIns="93167" tIns="46585" rIns="93167" bIns="46585" rtlCol="0"/>
          <a:lstStyle>
            <a:lvl1pPr algn="r">
              <a:defRPr sz="1200"/>
            </a:lvl1pPr>
          </a:lstStyle>
          <a:p>
            <a:fld id="{29FA1DDB-9142-4F41-B58B-F7AFCF464DBE}" type="datetimeFigureOut">
              <a:rPr lang="es-ES_tradnl" smtClean="0"/>
              <a:pPr/>
              <a:t>18/08/2022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7" tIns="46585" rIns="93167" bIns="46585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3167" tIns="46585" rIns="93167" bIns="46585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2" y="9430091"/>
            <a:ext cx="2945659" cy="496411"/>
          </a:xfrm>
          <a:prstGeom prst="rect">
            <a:avLst/>
          </a:prstGeom>
        </p:spPr>
        <p:txBody>
          <a:bodyPr vert="horz" lIns="93167" tIns="46585" rIns="93167" bIns="46585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5" y="9430091"/>
            <a:ext cx="2945659" cy="496411"/>
          </a:xfrm>
          <a:prstGeom prst="rect">
            <a:avLst/>
          </a:prstGeom>
        </p:spPr>
        <p:txBody>
          <a:bodyPr vert="horz" lIns="93167" tIns="46585" rIns="93167" bIns="46585" rtlCol="0" anchor="b"/>
          <a:lstStyle>
            <a:lvl1pPr algn="r">
              <a:defRPr sz="1200"/>
            </a:lvl1pPr>
          </a:lstStyle>
          <a:p>
            <a:fld id="{DFF41AA3-D478-EA4A-B568-90F925856E6D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74773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74C4C3-AFE1-8B49-8CB6-6EDD65A1A819}" type="datetime1">
              <a:rPr lang="es-CL" smtClean="0"/>
              <a:t>18-08-2022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482885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AA1A2-356A-1646-90F4-0FB6DAD9DFB5}" type="datetime1">
              <a:rPr lang="es-CL" smtClean="0"/>
              <a:t>18-08-2022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48401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E7B1E5-AC8A-D84D-9A23-11D26A093967}" type="datetime1">
              <a:rPr lang="es-CL" smtClean="0"/>
              <a:t>18-08-2022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593547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upo 10">
            <a:extLst>
              <a:ext uri="{FF2B5EF4-FFF2-40B4-BE49-F238E27FC236}">
                <a16:creationId xmlns:a16="http://schemas.microsoft.com/office/drawing/2014/main" id="{5917C7DF-0510-9C78-465B-6A45286FFA5E}"/>
              </a:ext>
            </a:extLst>
          </p:cNvPr>
          <p:cNvGrpSpPr>
            <a:grpSpLocks/>
          </p:cNvGrpSpPr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B382A174-83D2-5F54-184D-7A07400045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13" name="Imagen 12">
              <a:extLst>
                <a:ext uri="{FF2B5EF4-FFF2-40B4-BE49-F238E27FC236}">
                  <a16:creationId xmlns:a16="http://schemas.microsoft.com/office/drawing/2014/main" id="{9E1122BD-B267-7FAD-21D1-46E3959A9B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pic>
          <p:nvPicPr>
            <p:cNvPr id="14" name="Imagen 13">
              <a:extLst>
                <a:ext uri="{FF2B5EF4-FFF2-40B4-BE49-F238E27FC236}">
                  <a16:creationId xmlns:a16="http://schemas.microsoft.com/office/drawing/2014/main" id="{D5BBCBBB-2533-3B85-6832-3F9E311B25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794" t="6343"/>
            <a:stretch/>
          </p:blipFill>
          <p:spPr>
            <a:xfrm>
              <a:off x="0" y="7111"/>
              <a:ext cx="3086276" cy="18079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5731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0AD191-71DD-6D46-9814-5532E466ABC7}" type="datetime1">
              <a:rPr lang="es-CL" smtClean="0"/>
              <a:t>18-08-2022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7398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7A4D7-80D2-7644-8A2D-2230ACE1937C}" type="datetime1">
              <a:rPr lang="es-CL" smtClean="0"/>
              <a:t>18-08-2022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03753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4042D-A9C1-2A4C-820B-2ECE300ADD0E}" type="datetime1">
              <a:rPr lang="es-CL" smtClean="0"/>
              <a:t>18-08-2022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30267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D04C-9539-974E-A575-247C5239F4BA}" type="datetime1">
              <a:rPr lang="es-CL" smtClean="0"/>
              <a:t>18-08-2022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90651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ACC84A-1BEF-2343-9008-3EDD82C837C0}" type="datetime1">
              <a:rPr lang="es-CL" smtClean="0"/>
              <a:t>18-08-2022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509061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B96DD-DBE2-F04B-8EE0-74FA3D534A79}" type="datetime1">
              <a:rPr lang="es-CL" smtClean="0"/>
              <a:t>18-08-2022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658340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BED502-0D56-5A43-98CD-11E701F2BC48}" type="datetime1">
              <a:rPr lang="es-CL" smtClean="0"/>
              <a:t>18-08-2022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793496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BE412-B55F-A146-ACC2-F35B2CB8EBFD}" type="datetime1">
              <a:rPr lang="es-CL" smtClean="0"/>
              <a:t>18-08-2022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384186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04FCC9-91BD-FE47-936A-21CEA703DC40}" type="datetime1">
              <a:rPr lang="es-CL" smtClean="0"/>
              <a:t>18-08-2022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19A9A5-8CA1-4AE8-BA42-41F16E58AB3D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45026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jpg"/><Relationship Id="rId4" Type="http://schemas.openxmlformats.org/officeDocument/2006/relationships/image" Target="../media/image47.jp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4.png"/><Relationship Id="rId7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png"/><Relationship Id="rId18" Type="http://schemas.openxmlformats.org/officeDocument/2006/relationships/image" Target="../media/image14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.xml"/><Relationship Id="rId17" Type="http://schemas.openxmlformats.org/officeDocument/2006/relationships/image" Target="../media/image13.png"/><Relationship Id="rId2" Type="http://schemas.openxmlformats.org/officeDocument/2006/relationships/tags" Target="../tags/tag2.xml"/><Relationship Id="rId16" Type="http://schemas.openxmlformats.org/officeDocument/2006/relationships/image" Target="../media/image12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1.png"/><Relationship Id="rId10" Type="http://schemas.openxmlformats.org/officeDocument/2006/relationships/tags" Target="../tags/tag10.xml"/><Relationship Id="rId19" Type="http://schemas.openxmlformats.org/officeDocument/2006/relationships/image" Target="../media/image15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4.png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34" Type="http://schemas.openxmlformats.org/officeDocument/2006/relationships/image" Target="../media/image18.png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slideLayout" Target="../slideLayouts/slideLayout1.xml"/><Relationship Id="rId33" Type="http://schemas.openxmlformats.org/officeDocument/2006/relationships/image" Target="../media/image12.png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image" Target="../media/image17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image" Target="../media/image11.png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image" Target="../media/image16.png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image" Target="../media/image15.png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image" Target="../media/image5.png"/><Relationship Id="rId30" Type="http://schemas.openxmlformats.org/officeDocument/2006/relationships/image" Target="../media/image14.png"/><Relationship Id="rId8" Type="http://schemas.openxmlformats.org/officeDocument/2006/relationships/tags" Target="../tags/tag1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5.png"/><Relationship Id="rId7" Type="http://schemas.openxmlformats.org/officeDocument/2006/relationships/image" Target="../media/image22.jpeg"/><Relationship Id="rId12" Type="http://schemas.openxmlformats.org/officeDocument/2006/relationships/image" Target="../media/image1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jpeg"/><Relationship Id="rId10" Type="http://schemas.openxmlformats.org/officeDocument/2006/relationships/image" Target="../media/image25.png"/><Relationship Id="rId4" Type="http://schemas.openxmlformats.org/officeDocument/2006/relationships/image" Target="../media/image19.jpeg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emf"/><Relationship Id="rId3" Type="http://schemas.openxmlformats.org/officeDocument/2006/relationships/image" Target="../media/image5.png"/><Relationship Id="rId7" Type="http://schemas.microsoft.com/office/2007/relationships/hdphoto" Target="../media/hdphoto3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9.png"/><Relationship Id="rId5" Type="http://schemas.openxmlformats.org/officeDocument/2006/relationships/image" Target="../media/image28.emf"/><Relationship Id="rId4" Type="http://schemas.openxmlformats.org/officeDocument/2006/relationships/image" Target="../media/image27.emf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3.png"/><Relationship Id="rId3" Type="http://schemas.openxmlformats.org/officeDocument/2006/relationships/image" Target="../media/image5.png"/><Relationship Id="rId7" Type="http://schemas.openxmlformats.org/officeDocument/2006/relationships/image" Target="../media/image38.svg"/><Relationship Id="rId12" Type="http://schemas.openxmlformats.org/officeDocument/2006/relationships/image" Target="../media/image3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image" Target="../media/image36.png"/><Relationship Id="rId10" Type="http://schemas.openxmlformats.org/officeDocument/2006/relationships/image" Target="../media/image41.png"/><Relationship Id="rId4" Type="http://schemas.openxmlformats.org/officeDocument/2006/relationships/image" Target="../media/image32.png"/><Relationship Id="rId9" Type="http://schemas.openxmlformats.org/officeDocument/2006/relationships/image" Target="../media/image40.svg"/><Relationship Id="rId14" Type="http://schemas.openxmlformats.org/officeDocument/2006/relationships/image" Target="../media/image4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D271D2E7-E427-791D-6B6C-085072E278E1}"/>
              </a:ext>
            </a:extLst>
          </p:cNvPr>
          <p:cNvSpPr txBox="1"/>
          <p:nvPr/>
        </p:nvSpPr>
        <p:spPr>
          <a:xfrm>
            <a:off x="1535378" y="2551837"/>
            <a:ext cx="1007442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5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afíos de la implementación de la próxima licitación de buses Red</a:t>
            </a:r>
            <a:endParaRPr lang="es-CL" sz="54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9FD4C2E-83C7-BC45-7FFD-C137AD6A078B}"/>
              </a:ext>
            </a:extLst>
          </p:cNvPr>
          <p:cNvSpPr txBox="1"/>
          <p:nvPr/>
        </p:nvSpPr>
        <p:spPr>
          <a:xfrm>
            <a:off x="8110866" y="5939714"/>
            <a:ext cx="21964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dirty="0">
                <a:solidFill>
                  <a:schemeClr val="bg1"/>
                </a:solidFill>
              </a:rPr>
              <a:t>18 de agosto de 2022</a:t>
            </a:r>
          </a:p>
        </p:txBody>
      </p:sp>
    </p:spTree>
    <p:extLst>
      <p:ext uri="{BB962C8B-B14F-4D97-AF65-F5344CB8AC3E}">
        <p14:creationId xmlns:p14="http://schemas.microsoft.com/office/powerpoint/2010/main" val="39480042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1999" cy="79248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0" y="478573"/>
            <a:ext cx="10140618" cy="4744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000" b="1" spc="-5" dirty="0">
                <a:solidFill>
                  <a:srgbClr val="00AAFF"/>
                </a:solidFill>
              </a:rPr>
              <a:t>Consejo</a:t>
            </a:r>
            <a:r>
              <a:rPr sz="3000" b="1" spc="-15" dirty="0">
                <a:solidFill>
                  <a:srgbClr val="00AAFF"/>
                </a:solidFill>
              </a:rPr>
              <a:t> </a:t>
            </a:r>
            <a:r>
              <a:rPr sz="3000" b="1" spc="-10" dirty="0" err="1">
                <a:solidFill>
                  <a:srgbClr val="00AAFF"/>
                </a:solidFill>
              </a:rPr>
              <a:t>Consultivo</a:t>
            </a:r>
            <a:r>
              <a:rPr sz="3000" b="1" spc="-35" dirty="0">
                <a:solidFill>
                  <a:srgbClr val="00AAFF"/>
                </a:solidFill>
              </a:rPr>
              <a:t> </a:t>
            </a:r>
            <a:r>
              <a:rPr sz="3000" b="1" spc="-5" dirty="0" err="1">
                <a:solidFill>
                  <a:srgbClr val="00AAFF"/>
                </a:solidFill>
              </a:rPr>
              <a:t>Asesor</a:t>
            </a:r>
            <a:r>
              <a:rPr lang="es-ES" sz="3000" b="1" spc="-5" dirty="0">
                <a:solidFill>
                  <a:srgbClr val="00AAFF"/>
                </a:solidFill>
              </a:rPr>
              <a:t> de Planificación y Estrategia</a:t>
            </a:r>
            <a:endParaRPr sz="3000" b="1" dirty="0"/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51459" y="455706"/>
            <a:ext cx="351926" cy="685769"/>
          </a:xfrm>
          <a:prstGeom prst="rect">
            <a:avLst/>
          </a:prstGeom>
        </p:spPr>
      </p:pic>
      <p:graphicFrame>
        <p:nvGraphicFramePr>
          <p:cNvPr id="7" name="objec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2131418"/>
              </p:ext>
            </p:extLst>
          </p:nvPr>
        </p:nvGraphicFramePr>
        <p:xfrm>
          <a:off x="6583680" y="1426849"/>
          <a:ext cx="5082719" cy="493036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611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38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076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2777">
                <a:tc>
                  <a:txBody>
                    <a:bodyPr/>
                    <a:lstStyle/>
                    <a:p>
                      <a:pPr marL="1270" algn="ctr">
                        <a:lnSpc>
                          <a:spcPts val="1395"/>
                        </a:lnSpc>
                      </a:pPr>
                      <a:r>
                        <a:rPr sz="1200" b="1" dirty="0"/>
                        <a:t>Nº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ts val="1395"/>
                        </a:lnSpc>
                      </a:pPr>
                      <a:r>
                        <a:rPr sz="1200" b="1" spc="-5" dirty="0"/>
                        <a:t>Nombr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1395"/>
                        </a:lnSpc>
                      </a:pPr>
                      <a:r>
                        <a:rPr sz="1200" b="1" spc="-5" dirty="0"/>
                        <a:t>Institución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4942">
                <a:tc>
                  <a:txBody>
                    <a:bodyPr/>
                    <a:lstStyle/>
                    <a:p>
                      <a:pPr marR="69850" algn="ctr">
                        <a:lnSpc>
                          <a:spcPts val="1395"/>
                        </a:lnSpc>
                      </a:pPr>
                      <a:r>
                        <a:rPr sz="1200" b="0" dirty="0"/>
                        <a:t>1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</a:pPr>
                      <a:r>
                        <a:rPr sz="1200" b="0" spc="-5" dirty="0"/>
                        <a:t>Carlos</a:t>
                      </a:r>
                      <a:r>
                        <a:rPr sz="1200" b="0" spc="-25" dirty="0"/>
                        <a:t> </a:t>
                      </a:r>
                      <a:r>
                        <a:rPr sz="1200" b="0" spc="-5" dirty="0"/>
                        <a:t>Escobar</a:t>
                      </a:r>
                      <a:endParaRPr sz="1200" b="0"/>
                    </a:p>
                    <a:p>
                      <a:pPr marL="61594">
                        <a:lnSpc>
                          <a:spcPct val="100000"/>
                        </a:lnSpc>
                      </a:pPr>
                      <a:r>
                        <a:rPr sz="1200" b="0" spc="-10" dirty="0"/>
                        <a:t>Rodrigo</a:t>
                      </a:r>
                      <a:r>
                        <a:rPr sz="1200" b="0" dirty="0"/>
                        <a:t> </a:t>
                      </a:r>
                      <a:r>
                        <a:rPr sz="1200" b="0" spc="-5" dirty="0"/>
                        <a:t>Cornejo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</a:pPr>
                      <a:r>
                        <a:rPr sz="1200" b="0" spc="-5" dirty="0"/>
                        <a:t>Comisión</a:t>
                      </a:r>
                      <a:r>
                        <a:rPr sz="1200" b="0" spc="10" dirty="0"/>
                        <a:t> </a:t>
                      </a:r>
                      <a:r>
                        <a:rPr sz="1200" b="0" dirty="0"/>
                        <a:t>de</a:t>
                      </a:r>
                      <a:r>
                        <a:rPr sz="1200" b="0" spc="-5" dirty="0"/>
                        <a:t> </a:t>
                      </a:r>
                      <a:r>
                        <a:rPr sz="1200" b="0" spc="-10" dirty="0"/>
                        <a:t>Infraestructura</a:t>
                      </a:r>
                      <a:endParaRPr sz="1200" b="0" dirty="0"/>
                    </a:p>
                    <a:p>
                      <a:pPr marL="61594">
                        <a:lnSpc>
                          <a:spcPct val="100000"/>
                        </a:lnSpc>
                      </a:pPr>
                      <a:r>
                        <a:rPr sz="1200" b="0" spc="-5" dirty="0"/>
                        <a:t>Consejo</a:t>
                      </a:r>
                      <a:r>
                        <a:rPr sz="1200" b="0" spc="-10" dirty="0"/>
                        <a:t> </a:t>
                      </a:r>
                      <a:r>
                        <a:rPr sz="1200" b="0" spc="-5" dirty="0"/>
                        <a:t>Regional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</a:txBody>
                  <a:tcPr marL="0" marR="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R="69850" algn="ctr">
                        <a:lnSpc>
                          <a:spcPts val="1395"/>
                        </a:lnSpc>
                      </a:pPr>
                      <a:r>
                        <a:rPr sz="1200" b="0" dirty="0"/>
                        <a:t>2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</a:pPr>
                      <a:r>
                        <a:rPr sz="1200" b="0" spc="-5" dirty="0"/>
                        <a:t>Sergio</a:t>
                      </a:r>
                      <a:r>
                        <a:rPr sz="1200" b="0" spc="-40" dirty="0"/>
                        <a:t> </a:t>
                      </a:r>
                      <a:r>
                        <a:rPr sz="1200" b="0" spc="-5" dirty="0"/>
                        <a:t>Márquez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  <a:tabLst>
                          <a:tab pos="880110" algn="l"/>
                          <a:tab pos="1908810" algn="l"/>
                          <a:tab pos="2201545" algn="l"/>
                        </a:tabLst>
                      </a:pPr>
                      <a:r>
                        <a:rPr sz="1200" b="0" spc="-5" dirty="0"/>
                        <a:t>Federación	</a:t>
                      </a:r>
                      <a:r>
                        <a:rPr sz="1200" b="0" spc="-10" dirty="0"/>
                        <a:t>Metropolitana	</a:t>
                      </a:r>
                      <a:r>
                        <a:rPr sz="1200" b="0" dirty="0"/>
                        <a:t>de	</a:t>
                      </a:r>
                      <a:r>
                        <a:rPr sz="1200" b="0" spc="-5" dirty="0"/>
                        <a:t>Uniones</a:t>
                      </a:r>
                      <a:endParaRPr sz="1200" b="0"/>
                    </a:p>
                    <a:p>
                      <a:pPr marL="61594">
                        <a:lnSpc>
                          <a:spcPts val="1410"/>
                        </a:lnSpc>
                      </a:pPr>
                      <a:r>
                        <a:rPr sz="1200" b="0" spc="-5" dirty="0"/>
                        <a:t>Comunales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4941">
                <a:tc>
                  <a:txBody>
                    <a:bodyPr/>
                    <a:lstStyle/>
                    <a:p>
                      <a:pPr marR="69850" algn="ctr">
                        <a:lnSpc>
                          <a:spcPts val="1395"/>
                        </a:lnSpc>
                      </a:pPr>
                      <a:r>
                        <a:rPr sz="1200" b="0" dirty="0"/>
                        <a:t>3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</a:pPr>
                      <a:r>
                        <a:rPr sz="1200" b="0" dirty="0"/>
                        <a:t>Claudia</a:t>
                      </a:r>
                      <a:r>
                        <a:rPr sz="1200" b="0" spc="-55" dirty="0"/>
                        <a:t> </a:t>
                      </a:r>
                      <a:r>
                        <a:rPr sz="1200" b="0" spc="-5" dirty="0"/>
                        <a:t>Rodríguez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</a:pPr>
                      <a:r>
                        <a:rPr sz="1200" b="0" spc="-10" dirty="0"/>
                        <a:t>COSOC</a:t>
                      </a:r>
                      <a:endParaRPr sz="1200" b="0"/>
                    </a:p>
                    <a:p>
                      <a:pPr marL="61594">
                        <a:lnSpc>
                          <a:spcPct val="100000"/>
                        </a:lnSpc>
                      </a:pPr>
                      <a:r>
                        <a:rPr sz="1200" b="0" spc="-5" dirty="0"/>
                        <a:t>Subsecretaría</a:t>
                      </a:r>
                      <a:r>
                        <a:rPr sz="1200" b="0" spc="-60" dirty="0"/>
                        <a:t> </a:t>
                      </a:r>
                      <a:r>
                        <a:rPr sz="1200" b="0" dirty="0"/>
                        <a:t>de</a:t>
                      </a:r>
                      <a:r>
                        <a:rPr sz="1200" b="0" spc="-25" dirty="0"/>
                        <a:t> </a:t>
                      </a:r>
                      <a:r>
                        <a:rPr sz="1200" b="0" spc="-10" dirty="0"/>
                        <a:t>Transportes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2725">
                <a:tc>
                  <a:txBody>
                    <a:bodyPr/>
                    <a:lstStyle/>
                    <a:p>
                      <a:pPr marR="69850" algn="ctr">
                        <a:lnSpc>
                          <a:spcPts val="1395"/>
                        </a:lnSpc>
                      </a:pPr>
                      <a:r>
                        <a:rPr sz="1200" b="0" dirty="0"/>
                        <a:t>6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</a:pPr>
                      <a:r>
                        <a:rPr sz="1200" b="0" spc="-5" dirty="0"/>
                        <a:t>Luis</a:t>
                      </a:r>
                      <a:r>
                        <a:rPr sz="1200" b="0" spc="-35" dirty="0"/>
                        <a:t> </a:t>
                      </a:r>
                      <a:r>
                        <a:rPr sz="1200" b="0" spc="-5" dirty="0"/>
                        <a:t>Rizzi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</a:pPr>
                      <a:r>
                        <a:rPr sz="1200" b="0" spc="-5" dirty="0"/>
                        <a:t>SOCHITRAN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851">
                <a:tc>
                  <a:txBody>
                    <a:bodyPr/>
                    <a:lstStyle/>
                    <a:p>
                      <a:pPr marR="69850" algn="ctr">
                        <a:lnSpc>
                          <a:spcPts val="1395"/>
                        </a:lnSpc>
                      </a:pPr>
                      <a:r>
                        <a:rPr sz="1200" b="0" dirty="0"/>
                        <a:t>7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5"/>
                        </a:lnSpc>
                      </a:pPr>
                      <a:r>
                        <a:rPr sz="1200" b="0" spc="-5" dirty="0"/>
                        <a:t>Catalina</a:t>
                      </a:r>
                      <a:r>
                        <a:rPr sz="1200" b="0" spc="-50" dirty="0"/>
                        <a:t> </a:t>
                      </a:r>
                      <a:r>
                        <a:rPr sz="1200" b="0" dirty="0"/>
                        <a:t>Justiniano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5"/>
                        </a:lnSpc>
                      </a:pPr>
                      <a:r>
                        <a:rPr sz="1200" b="0" spc="-5" dirty="0"/>
                        <a:t>Consejo </a:t>
                      </a:r>
                      <a:r>
                        <a:rPr sz="1200" b="0" dirty="0"/>
                        <a:t>Nacional</a:t>
                      </a:r>
                      <a:r>
                        <a:rPr sz="1200" b="0" spc="-15" dirty="0"/>
                        <a:t> </a:t>
                      </a:r>
                      <a:r>
                        <a:rPr sz="1200" b="0" dirty="0"/>
                        <a:t>de</a:t>
                      </a:r>
                      <a:r>
                        <a:rPr sz="1200" b="0" spc="-15" dirty="0"/>
                        <a:t> </a:t>
                      </a:r>
                      <a:r>
                        <a:rPr sz="1200" b="0" spc="-5" dirty="0"/>
                        <a:t>desarrollo</a:t>
                      </a:r>
                      <a:r>
                        <a:rPr sz="1200" b="0" spc="-10" dirty="0"/>
                        <a:t> </a:t>
                      </a:r>
                      <a:r>
                        <a:rPr sz="1200" b="0" dirty="0"/>
                        <a:t>Urbano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4814">
                <a:tc>
                  <a:txBody>
                    <a:bodyPr/>
                    <a:lstStyle/>
                    <a:p>
                      <a:pPr marR="69850" algn="ctr">
                        <a:lnSpc>
                          <a:spcPts val="1395"/>
                        </a:lnSpc>
                      </a:pPr>
                      <a:r>
                        <a:rPr sz="1200" b="0" dirty="0"/>
                        <a:t>8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</a:pPr>
                      <a:r>
                        <a:rPr sz="1200" b="0" dirty="0"/>
                        <a:t>Raimundo</a:t>
                      </a:r>
                      <a:r>
                        <a:rPr sz="1200" b="0" spc="-55" dirty="0"/>
                        <a:t> </a:t>
                      </a:r>
                      <a:r>
                        <a:rPr sz="1200" b="0" spc="-10" dirty="0"/>
                        <a:t>Cruzat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0"/>
                        </a:lnSpc>
                      </a:pPr>
                      <a:r>
                        <a:rPr sz="1200" b="0" dirty="0"/>
                        <a:t>Ex</a:t>
                      </a:r>
                      <a:r>
                        <a:rPr sz="1200" b="0" spc="10" dirty="0"/>
                        <a:t> </a:t>
                      </a:r>
                      <a:r>
                        <a:rPr sz="1200" b="0" spc="5" dirty="0"/>
                        <a:t>D</a:t>
                      </a:r>
                      <a:r>
                        <a:rPr sz="1200" b="0" spc="-120" dirty="0"/>
                        <a:t>r</a:t>
                      </a:r>
                      <a:r>
                        <a:rPr sz="1200" b="0" dirty="0"/>
                        <a:t>.</a:t>
                      </a:r>
                      <a:r>
                        <a:rPr sz="1200" b="0" spc="-25" dirty="0"/>
                        <a:t> </a:t>
                      </a:r>
                      <a:r>
                        <a:rPr sz="1200" b="0" spc="-10" dirty="0"/>
                        <a:t>D</a:t>
                      </a:r>
                      <a:r>
                        <a:rPr sz="1200" b="0" spc="-5" dirty="0"/>
                        <a:t>T</a:t>
                      </a:r>
                      <a:r>
                        <a:rPr sz="1200" b="0" spc="5" dirty="0"/>
                        <a:t>P</a:t>
                      </a:r>
                      <a:r>
                        <a:rPr sz="1200" b="0" dirty="0"/>
                        <a:t>M</a:t>
                      </a:r>
                      <a:endParaRPr sz="1200" b="0"/>
                    </a:p>
                    <a:p>
                      <a:pPr marL="61594">
                        <a:lnSpc>
                          <a:spcPct val="100000"/>
                        </a:lnSpc>
                      </a:pPr>
                      <a:r>
                        <a:rPr sz="1200" b="0" spc="-5" dirty="0"/>
                        <a:t>Independiente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4942">
                <a:tc>
                  <a:txBody>
                    <a:bodyPr/>
                    <a:lstStyle/>
                    <a:p>
                      <a:pPr marR="69850" algn="ctr">
                        <a:lnSpc>
                          <a:spcPts val="1395"/>
                        </a:lnSpc>
                      </a:pPr>
                      <a:r>
                        <a:rPr sz="1200" b="0" dirty="0"/>
                        <a:t>9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5"/>
                        </a:lnSpc>
                      </a:pPr>
                      <a:r>
                        <a:rPr sz="1200" b="0" dirty="0"/>
                        <a:t>Danilo</a:t>
                      </a:r>
                      <a:r>
                        <a:rPr sz="1200" b="0" spc="-50" dirty="0"/>
                        <a:t> </a:t>
                      </a:r>
                      <a:r>
                        <a:rPr sz="1200" b="0" spc="-5" dirty="0"/>
                        <a:t>Nuñez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5"/>
                        </a:lnSpc>
                      </a:pPr>
                      <a:r>
                        <a:rPr sz="1200" b="0" spc="-5" dirty="0"/>
                        <a:t>INFOCAP</a:t>
                      </a:r>
                      <a:endParaRPr sz="1200" b="0"/>
                    </a:p>
                    <a:p>
                      <a:pPr marL="61594">
                        <a:lnSpc>
                          <a:spcPct val="100000"/>
                        </a:lnSpc>
                      </a:pPr>
                      <a:r>
                        <a:rPr sz="1200" b="0" dirty="0"/>
                        <a:t>Ex</a:t>
                      </a:r>
                      <a:r>
                        <a:rPr sz="1200" b="0" spc="10" dirty="0"/>
                        <a:t> </a:t>
                      </a:r>
                      <a:r>
                        <a:rPr sz="1200" b="0" spc="-5" dirty="0"/>
                        <a:t>Coordinador</a:t>
                      </a:r>
                      <a:r>
                        <a:rPr sz="1200" b="0" spc="-50" dirty="0"/>
                        <a:t> </a:t>
                      </a:r>
                      <a:r>
                        <a:rPr sz="1200" b="0" spc="-15" dirty="0"/>
                        <a:t>Transantiago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494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sz="1200" b="0" dirty="0"/>
                        <a:t>11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5"/>
                        </a:lnSpc>
                      </a:pPr>
                      <a:r>
                        <a:rPr sz="1200" b="0" spc="-5" dirty="0"/>
                        <a:t>Marcela</a:t>
                      </a:r>
                      <a:r>
                        <a:rPr sz="1200" b="0" spc="-35" dirty="0"/>
                        <a:t> </a:t>
                      </a:r>
                      <a:r>
                        <a:rPr sz="1200" b="0" dirty="0"/>
                        <a:t>Allué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5"/>
                        </a:lnSpc>
                        <a:tabLst>
                          <a:tab pos="661035" algn="l"/>
                          <a:tab pos="1439545" algn="l"/>
                          <a:tab pos="2555240" algn="l"/>
                        </a:tabLst>
                      </a:pPr>
                      <a:r>
                        <a:rPr sz="1200" b="0" spc="-10" dirty="0"/>
                        <a:t>COPSA	</a:t>
                      </a:r>
                      <a:r>
                        <a:rPr sz="1200" b="0" spc="-5" dirty="0"/>
                        <a:t>Empresas	</a:t>
                      </a:r>
                      <a:r>
                        <a:rPr sz="1200" b="0" dirty="0"/>
                        <a:t>Concesionarias	</a:t>
                      </a:r>
                      <a:r>
                        <a:rPr sz="1200" b="0" spc="5" dirty="0"/>
                        <a:t>de</a:t>
                      </a:r>
                      <a:endParaRPr sz="1200" b="0"/>
                    </a:p>
                    <a:p>
                      <a:pPr marL="61594">
                        <a:lnSpc>
                          <a:spcPct val="100000"/>
                        </a:lnSpc>
                      </a:pPr>
                      <a:r>
                        <a:rPr sz="1200" b="0" spc="-10" dirty="0"/>
                        <a:t>Infraestructura</a:t>
                      </a:r>
                      <a:r>
                        <a:rPr sz="1200" b="0" spc="-50" dirty="0"/>
                        <a:t> </a:t>
                      </a:r>
                      <a:r>
                        <a:rPr sz="1200" b="0" spc="-5" dirty="0"/>
                        <a:t>Pública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24814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sz="1200" b="0" dirty="0"/>
                        <a:t>12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5"/>
                        </a:lnSpc>
                      </a:pPr>
                      <a:r>
                        <a:rPr sz="1200" b="0" spc="-5" dirty="0"/>
                        <a:t>Gonzalo</a:t>
                      </a:r>
                      <a:r>
                        <a:rPr sz="1200" b="0" spc="-25" dirty="0"/>
                        <a:t> </a:t>
                      </a:r>
                      <a:r>
                        <a:rPr sz="1200" b="0" spc="-5" dirty="0"/>
                        <a:t>García</a:t>
                      </a:r>
                      <a:endParaRPr sz="1200" b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375"/>
                        </a:lnSpc>
                      </a:pPr>
                      <a:r>
                        <a:rPr sz="1200" b="0" spc="-5" dirty="0"/>
                        <a:t>GORE</a:t>
                      </a:r>
                      <a:endParaRPr sz="1200" b="0" dirty="0"/>
                    </a:p>
                    <a:p>
                      <a:pPr marL="61594">
                        <a:lnSpc>
                          <a:spcPct val="100000"/>
                        </a:lnSpc>
                      </a:pPr>
                      <a:r>
                        <a:rPr sz="1200" b="0" spc="-5" dirty="0"/>
                        <a:t>División</a:t>
                      </a:r>
                      <a:r>
                        <a:rPr sz="1200" b="0" spc="15" dirty="0"/>
                        <a:t> </a:t>
                      </a:r>
                      <a:r>
                        <a:rPr sz="1200" b="0" dirty="0"/>
                        <a:t>de </a:t>
                      </a:r>
                      <a:r>
                        <a:rPr sz="1200" b="0" spc="-10" dirty="0"/>
                        <a:t>Infraestructura</a:t>
                      </a:r>
                      <a:r>
                        <a:rPr sz="1200" b="0" spc="-30" dirty="0"/>
                        <a:t> </a:t>
                      </a:r>
                      <a:r>
                        <a:rPr sz="1200" b="0" dirty="0"/>
                        <a:t>y </a:t>
                      </a:r>
                      <a:r>
                        <a:rPr sz="1200" b="0" spc="-10" dirty="0"/>
                        <a:t>Transporte</a:t>
                      </a:r>
                      <a:endParaRPr sz="1200" b="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2852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sz="1200" dirty="0"/>
                        <a:t>13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5" dirty="0"/>
                        <a:t>Andrés</a:t>
                      </a:r>
                      <a:r>
                        <a:rPr sz="1200" spc="-40" dirty="0"/>
                        <a:t> </a:t>
                      </a:r>
                      <a:r>
                        <a:rPr sz="1200" spc="-5" dirty="0"/>
                        <a:t>Santelices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5" dirty="0"/>
                        <a:t>Educleta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2725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sz="1200" dirty="0"/>
                        <a:t>16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5" dirty="0"/>
                        <a:t>Camila</a:t>
                      </a:r>
                      <a:r>
                        <a:rPr sz="1200" spc="5" dirty="0"/>
                        <a:t> </a:t>
                      </a:r>
                      <a:r>
                        <a:rPr sz="1200" spc="-5" dirty="0"/>
                        <a:t>Balbontín</a:t>
                      </a:r>
                      <a:r>
                        <a:rPr sz="1200" spc="-25" dirty="0"/>
                        <a:t> </a:t>
                      </a:r>
                      <a:r>
                        <a:rPr sz="1200" spc="-5" dirty="0"/>
                        <a:t>(virtual)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5" dirty="0"/>
                        <a:t>Universidad</a:t>
                      </a:r>
                      <a:r>
                        <a:rPr sz="1200" spc="-30" dirty="0"/>
                        <a:t> </a:t>
                      </a:r>
                      <a:r>
                        <a:rPr sz="1200" spc="-5" dirty="0"/>
                        <a:t>Adolfo</a:t>
                      </a:r>
                      <a:r>
                        <a:rPr sz="1200" spc="-30" dirty="0"/>
                        <a:t> </a:t>
                      </a:r>
                      <a:r>
                        <a:rPr sz="1200" spc="-5" dirty="0"/>
                        <a:t>Ibañez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2851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sz="1200" dirty="0"/>
                        <a:t>17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5" dirty="0"/>
                        <a:t>Ricardo</a:t>
                      </a:r>
                      <a:r>
                        <a:rPr sz="1200" spc="-30" dirty="0"/>
                        <a:t> </a:t>
                      </a:r>
                      <a:r>
                        <a:rPr sz="1200" spc="-5" dirty="0"/>
                        <a:t>Hurtubia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5" dirty="0"/>
                        <a:t>Pontificia</a:t>
                      </a:r>
                      <a:r>
                        <a:rPr sz="1200" spc="-25" dirty="0"/>
                        <a:t> </a:t>
                      </a:r>
                      <a:r>
                        <a:rPr sz="1200" spc="-5" dirty="0"/>
                        <a:t>Universidad</a:t>
                      </a:r>
                      <a:r>
                        <a:rPr sz="1200" spc="-20" dirty="0"/>
                        <a:t> </a:t>
                      </a:r>
                      <a:r>
                        <a:rPr sz="1200" spc="-10" dirty="0"/>
                        <a:t>Católica</a:t>
                      </a:r>
                      <a:r>
                        <a:rPr sz="1200" dirty="0"/>
                        <a:t> de</a:t>
                      </a:r>
                      <a:r>
                        <a:rPr sz="1200" spc="-15" dirty="0"/>
                        <a:t> </a:t>
                      </a:r>
                      <a:r>
                        <a:rPr sz="1200" spc="-5" dirty="0"/>
                        <a:t>chile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2725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sz="1200" dirty="0"/>
                        <a:t>18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10" dirty="0"/>
                        <a:t>Rodrigo</a:t>
                      </a:r>
                      <a:r>
                        <a:rPr sz="1200" spc="-35" dirty="0"/>
                        <a:t> </a:t>
                      </a:r>
                      <a:r>
                        <a:rPr sz="1200" dirty="0"/>
                        <a:t>Martin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5" dirty="0"/>
                        <a:t>SmartCity</a:t>
                      </a:r>
                      <a:r>
                        <a:rPr sz="1200" spc="-40" dirty="0"/>
                        <a:t> </a:t>
                      </a:r>
                      <a:r>
                        <a:rPr sz="1200" spc="-10" dirty="0"/>
                        <a:t>USACH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2826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</a:pPr>
                      <a:r>
                        <a:rPr sz="1200" dirty="0"/>
                        <a:t>19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5" dirty="0"/>
                        <a:t>Patricia</a:t>
                      </a:r>
                      <a:r>
                        <a:rPr sz="1200" spc="-30" dirty="0"/>
                        <a:t> </a:t>
                      </a:r>
                      <a:r>
                        <a:rPr sz="1200" dirty="0"/>
                        <a:t>Galilea</a:t>
                      </a:r>
                      <a:r>
                        <a:rPr sz="1200" spc="-10" dirty="0"/>
                        <a:t> </a:t>
                      </a:r>
                      <a:r>
                        <a:rPr sz="1200" spc="-5" dirty="0"/>
                        <a:t>(virtual)</a:t>
                      </a:r>
                      <a:endParaRPr sz="120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61594">
                        <a:lnSpc>
                          <a:spcPts val="1400"/>
                        </a:lnSpc>
                      </a:pPr>
                      <a:r>
                        <a:rPr sz="1200" spc="-5" dirty="0"/>
                        <a:t>Pontificia</a:t>
                      </a:r>
                      <a:r>
                        <a:rPr sz="1200" spc="-25" dirty="0"/>
                        <a:t> </a:t>
                      </a:r>
                      <a:r>
                        <a:rPr sz="1200" spc="-5" dirty="0"/>
                        <a:t>Universidad</a:t>
                      </a:r>
                      <a:r>
                        <a:rPr sz="1200" spc="-20" dirty="0"/>
                        <a:t> </a:t>
                      </a:r>
                      <a:r>
                        <a:rPr sz="1200" spc="-10" dirty="0"/>
                        <a:t>Católica</a:t>
                      </a:r>
                      <a:r>
                        <a:rPr sz="1200" dirty="0"/>
                        <a:t> de</a:t>
                      </a:r>
                      <a:r>
                        <a:rPr sz="1200" spc="-15" dirty="0"/>
                        <a:t> </a:t>
                      </a:r>
                      <a:r>
                        <a:rPr sz="1200" spc="-5" dirty="0"/>
                        <a:t>chile</a:t>
                      </a:r>
                      <a:endParaRPr sz="1200" dirty="0">
                        <a:latin typeface="Calibri"/>
                        <a:cs typeface="Calibri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pSp>
        <p:nvGrpSpPr>
          <p:cNvPr id="9" name="object 9"/>
          <p:cNvGrpSpPr/>
          <p:nvPr/>
        </p:nvGrpSpPr>
        <p:grpSpPr>
          <a:xfrm>
            <a:off x="603385" y="1540800"/>
            <a:ext cx="4709160" cy="4825941"/>
            <a:chOff x="123383" y="2095500"/>
            <a:chExt cx="4709160" cy="4825941"/>
          </a:xfrm>
        </p:grpSpPr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71272" y="2095500"/>
              <a:ext cx="4393691" cy="3296411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3383" y="4688781"/>
              <a:ext cx="4709160" cy="2232660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20CA73FC-223C-F56D-45A2-16ED0E7123B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0289" r="1" b="4368"/>
          <a:stretch/>
        </p:blipFill>
        <p:spPr>
          <a:xfrm>
            <a:off x="3009327" y="79375"/>
            <a:ext cx="6353789" cy="654739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23DC1609-4051-A74C-A14D-786A055406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12192000" cy="7937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8D85FEA8-40A1-6748-A2C9-F29C889DD902}"/>
              </a:ext>
            </a:extLst>
          </p:cNvPr>
          <p:cNvSpPr txBox="1"/>
          <p:nvPr/>
        </p:nvSpPr>
        <p:spPr>
          <a:xfrm>
            <a:off x="627644" y="329821"/>
            <a:ext cx="880984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b="1" dirty="0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 preliminar de Puesta en Marcha</a:t>
            </a:r>
            <a:endParaRPr lang="es-CL" sz="4400" b="1" dirty="0">
              <a:solidFill>
                <a:srgbClr val="00AA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ED6087C-FC10-A34A-8B7F-8B5958F333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1836" y="451835"/>
            <a:ext cx="361006" cy="690066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AD823B52-0F5D-8E8C-4124-5A22EAF0C3C8}"/>
              </a:ext>
            </a:extLst>
          </p:cNvPr>
          <p:cNvSpPr/>
          <p:nvPr/>
        </p:nvSpPr>
        <p:spPr>
          <a:xfrm>
            <a:off x="5952818" y="1444252"/>
            <a:ext cx="229086" cy="20179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FA46E37E-15FD-F1A9-D261-F4F5B32171F3}"/>
              </a:ext>
            </a:extLst>
          </p:cNvPr>
          <p:cNvSpPr/>
          <p:nvPr/>
        </p:nvSpPr>
        <p:spPr>
          <a:xfrm>
            <a:off x="5154703" y="1014686"/>
            <a:ext cx="12524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latin typeface="Calibri" panose="020F0502020204030204" pitchFamily="34" charset="0"/>
              </a:rPr>
              <a:t>Sta. Marta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B2A75B86-873B-D0EA-4F04-0CC5C0752059}"/>
              </a:ext>
            </a:extLst>
          </p:cNvPr>
          <p:cNvSpPr/>
          <p:nvPr/>
        </p:nvSpPr>
        <p:spPr>
          <a:xfrm>
            <a:off x="4926786" y="2334329"/>
            <a:ext cx="229086" cy="201796"/>
          </a:xfrm>
          <a:prstGeom prst="rect">
            <a:avLst/>
          </a:prstGeom>
          <a:solidFill>
            <a:srgbClr val="E434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E9251917-BB23-1619-36F9-23C186B2DA8B}"/>
              </a:ext>
            </a:extLst>
          </p:cNvPr>
          <p:cNvSpPr/>
          <p:nvPr/>
        </p:nvSpPr>
        <p:spPr>
          <a:xfrm>
            <a:off x="4170702" y="2250561"/>
            <a:ext cx="25202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FF0000"/>
                </a:solidFill>
                <a:latin typeface="Calibri" panose="020F0502020204030204" pitchFamily="34" charset="0"/>
              </a:rPr>
              <a:t>Renca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66D428D-CAA9-4A41-CA60-804515D12EA5}"/>
              </a:ext>
            </a:extLst>
          </p:cNvPr>
          <p:cNvSpPr/>
          <p:nvPr/>
        </p:nvSpPr>
        <p:spPr>
          <a:xfrm>
            <a:off x="5541998" y="4655099"/>
            <a:ext cx="229086" cy="201796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0F9C9091-F246-5D99-F508-39FA7ED88BCE}"/>
              </a:ext>
            </a:extLst>
          </p:cNvPr>
          <p:cNvSpPr/>
          <p:nvPr/>
        </p:nvSpPr>
        <p:spPr>
          <a:xfrm>
            <a:off x="3895732" y="4571331"/>
            <a:ext cx="25202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FF0000"/>
                </a:solidFill>
                <a:latin typeface="Calibri" panose="020F0502020204030204" pitchFamily="34" charset="0"/>
              </a:rPr>
              <a:t>Santa Margarita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6C0A3F9D-8416-DBC5-09A4-739F290B8A05}"/>
              </a:ext>
            </a:extLst>
          </p:cNvPr>
          <p:cNvSpPr/>
          <p:nvPr/>
        </p:nvSpPr>
        <p:spPr>
          <a:xfrm>
            <a:off x="6214662" y="1785588"/>
            <a:ext cx="229086" cy="201796"/>
          </a:xfrm>
          <a:prstGeom prst="rect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01C43B1F-7949-14D8-FC7D-8AB552D46939}"/>
              </a:ext>
            </a:extLst>
          </p:cNvPr>
          <p:cNvSpPr/>
          <p:nvPr/>
        </p:nvSpPr>
        <p:spPr>
          <a:xfrm>
            <a:off x="6416012" y="1701820"/>
            <a:ext cx="25202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8000"/>
                </a:solidFill>
                <a:latin typeface="Calibri" panose="020F0502020204030204" pitchFamily="34" charset="0"/>
              </a:rPr>
              <a:t>Aguirre Luco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7ADF1C2A-A3C6-B7B0-4FB0-53341D29B804}"/>
              </a:ext>
            </a:extLst>
          </p:cNvPr>
          <p:cNvSpPr/>
          <p:nvPr/>
        </p:nvSpPr>
        <p:spPr>
          <a:xfrm>
            <a:off x="7608750" y="5665845"/>
            <a:ext cx="229086" cy="201796"/>
          </a:xfrm>
          <a:prstGeom prst="rect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ACDE8D3A-C79A-E559-5ECE-928928134A5E}"/>
              </a:ext>
            </a:extLst>
          </p:cNvPr>
          <p:cNvSpPr/>
          <p:nvPr/>
        </p:nvSpPr>
        <p:spPr>
          <a:xfrm>
            <a:off x="7777631" y="5595606"/>
            <a:ext cx="15733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8000"/>
                </a:solidFill>
                <a:latin typeface="Calibri" panose="020F0502020204030204" pitchFamily="34" charset="0"/>
              </a:rPr>
              <a:t>Pie Andino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238FE955-E27B-BF8B-DADB-3A778B072036}"/>
              </a:ext>
            </a:extLst>
          </p:cNvPr>
          <p:cNvSpPr/>
          <p:nvPr/>
        </p:nvSpPr>
        <p:spPr>
          <a:xfrm>
            <a:off x="6690982" y="6410880"/>
            <a:ext cx="229086" cy="201796"/>
          </a:xfrm>
          <a:prstGeom prst="rect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FD300D7B-F03D-EFE6-7EF1-2E9947567FCD}"/>
              </a:ext>
            </a:extLst>
          </p:cNvPr>
          <p:cNvSpPr/>
          <p:nvPr/>
        </p:nvSpPr>
        <p:spPr>
          <a:xfrm>
            <a:off x="6941982" y="6327112"/>
            <a:ext cx="11909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8000"/>
                </a:solidFill>
                <a:latin typeface="Calibri" panose="020F0502020204030204" pitchFamily="34" charset="0"/>
              </a:rPr>
              <a:t>Juanita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C486AEAD-A272-384A-5E28-C2C34BE02C84}"/>
              </a:ext>
            </a:extLst>
          </p:cNvPr>
          <p:cNvSpPr/>
          <p:nvPr/>
        </p:nvSpPr>
        <p:spPr>
          <a:xfrm>
            <a:off x="3853195" y="2492713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FF0000"/>
                </a:solidFill>
                <a:latin typeface="+mj-lt"/>
                <a:cs typeface="Biome" panose="020B0502040204020203" pitchFamily="34" charset="0"/>
              </a:rPr>
              <a:t>ENERO 2023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E6CB00E6-7521-9F71-ECA7-AC1DCBBAEED2}"/>
              </a:ext>
            </a:extLst>
          </p:cNvPr>
          <p:cNvSpPr/>
          <p:nvPr/>
        </p:nvSpPr>
        <p:spPr>
          <a:xfrm>
            <a:off x="3890791" y="4821711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FF0000"/>
                </a:solidFill>
                <a:latin typeface="+mj-lt"/>
                <a:cs typeface="Biome" panose="020B0502040204020203" pitchFamily="34" charset="0"/>
              </a:rPr>
              <a:t>ENERO 2023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9606ED16-D6A3-21D6-CE18-260397F07480}"/>
              </a:ext>
            </a:extLst>
          </p:cNvPr>
          <p:cNvSpPr/>
          <p:nvPr/>
        </p:nvSpPr>
        <p:spPr>
          <a:xfrm>
            <a:off x="7719718" y="5385315"/>
            <a:ext cx="229086" cy="201796"/>
          </a:xfrm>
          <a:prstGeom prst="rect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EF6E97D6-DB9A-F629-0BE8-BE6C21FEDC3E}"/>
              </a:ext>
            </a:extLst>
          </p:cNvPr>
          <p:cNvSpPr/>
          <p:nvPr/>
        </p:nvSpPr>
        <p:spPr>
          <a:xfrm>
            <a:off x="6671430" y="1423540"/>
            <a:ext cx="229086" cy="201796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A2EACA33-B90E-9627-E447-ED915BDCBB14}"/>
              </a:ext>
            </a:extLst>
          </p:cNvPr>
          <p:cNvSpPr/>
          <p:nvPr/>
        </p:nvSpPr>
        <p:spPr>
          <a:xfrm>
            <a:off x="6844830" y="1294699"/>
            <a:ext cx="21358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70C0"/>
                </a:solidFill>
                <a:latin typeface="Calibri" panose="020F0502020204030204" pitchFamily="34" charset="0"/>
              </a:rPr>
              <a:t>Huechuraba</a:t>
            </a:r>
            <a:endParaRPr lang="es-CL" sz="1200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57C66E4C-6CFA-4CA5-C684-4D4060CD9B0B}"/>
              </a:ext>
            </a:extLst>
          </p:cNvPr>
          <p:cNvSpPr/>
          <p:nvPr/>
        </p:nvSpPr>
        <p:spPr>
          <a:xfrm>
            <a:off x="7072962" y="5638630"/>
            <a:ext cx="229086" cy="201796"/>
          </a:xfrm>
          <a:prstGeom prst="rect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1411276B-A42E-5227-8C3D-3592DC03BB2D}"/>
              </a:ext>
            </a:extLst>
          </p:cNvPr>
          <p:cNvSpPr/>
          <p:nvPr/>
        </p:nvSpPr>
        <p:spPr>
          <a:xfrm>
            <a:off x="5673941" y="5542112"/>
            <a:ext cx="25202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8000"/>
                </a:solidFill>
                <a:latin typeface="Calibri" panose="020F0502020204030204" pitchFamily="34" charset="0"/>
              </a:rPr>
              <a:t>La Primavera</a:t>
            </a: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6D029247-9849-E05C-D059-453BD810D16B}"/>
              </a:ext>
            </a:extLst>
          </p:cNvPr>
          <p:cNvSpPr/>
          <p:nvPr/>
        </p:nvSpPr>
        <p:spPr>
          <a:xfrm>
            <a:off x="8247640" y="5898635"/>
            <a:ext cx="229086" cy="201796"/>
          </a:xfrm>
          <a:prstGeom prst="rect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89E8B1BD-0E1B-2961-32A5-36BAD9FD024A}"/>
              </a:ext>
            </a:extLst>
          </p:cNvPr>
          <p:cNvSpPr/>
          <p:nvPr/>
        </p:nvSpPr>
        <p:spPr>
          <a:xfrm>
            <a:off x="8462652" y="5810895"/>
            <a:ext cx="15464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8000"/>
                </a:solidFill>
                <a:latin typeface="Calibri" panose="020F0502020204030204" pitchFamily="34" charset="0"/>
              </a:rPr>
              <a:t>Los Tilos</a:t>
            </a: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6CD01A44-EE5B-AC9B-C01D-B797ADD9F565}"/>
              </a:ext>
            </a:extLst>
          </p:cNvPr>
          <p:cNvSpPr/>
          <p:nvPr/>
        </p:nvSpPr>
        <p:spPr>
          <a:xfrm>
            <a:off x="8138500" y="3803623"/>
            <a:ext cx="229086" cy="201796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E66E1DD-328D-3A95-697C-8F884D9F8666}"/>
              </a:ext>
            </a:extLst>
          </p:cNvPr>
          <p:cNvSpPr/>
          <p:nvPr/>
        </p:nvSpPr>
        <p:spPr>
          <a:xfrm>
            <a:off x="8322399" y="3689455"/>
            <a:ext cx="210886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FFC000"/>
                </a:solidFill>
                <a:latin typeface="Calibri" panose="020F0502020204030204" pitchFamily="34" charset="0"/>
              </a:rPr>
              <a:t>Diagonal Las Torres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C1332933-1B11-1B45-1623-A2AC4D2C44DA}"/>
              </a:ext>
            </a:extLst>
          </p:cNvPr>
          <p:cNvSpPr/>
          <p:nvPr/>
        </p:nvSpPr>
        <p:spPr>
          <a:xfrm>
            <a:off x="7586684" y="4200784"/>
            <a:ext cx="229086" cy="201796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4AEC30F0-097B-2ACB-E651-FC0D574377DE}"/>
              </a:ext>
            </a:extLst>
          </p:cNvPr>
          <p:cNvSpPr/>
          <p:nvPr/>
        </p:nvSpPr>
        <p:spPr>
          <a:xfrm>
            <a:off x="7073329" y="4107151"/>
            <a:ext cx="25777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s-CL" dirty="0">
                <a:solidFill>
                  <a:srgbClr val="0070C0"/>
                </a:solidFill>
                <a:latin typeface="Calibri" panose="020F0502020204030204" pitchFamily="34" charset="0"/>
              </a:rPr>
              <a:t>Las Torres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C5D09E86-A453-D68F-43C2-2AAC39785B6F}"/>
              </a:ext>
            </a:extLst>
          </p:cNvPr>
          <p:cNvSpPr/>
          <p:nvPr/>
        </p:nvSpPr>
        <p:spPr>
          <a:xfrm>
            <a:off x="7957287" y="3432930"/>
            <a:ext cx="229086" cy="201796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D3CF2C16-9799-AABC-A388-586FC515D694}"/>
              </a:ext>
            </a:extLst>
          </p:cNvPr>
          <p:cNvSpPr/>
          <p:nvPr/>
        </p:nvSpPr>
        <p:spPr>
          <a:xfrm>
            <a:off x="8037030" y="3137040"/>
            <a:ext cx="11988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70C0"/>
                </a:solidFill>
                <a:latin typeface="Calibri" panose="020F0502020204030204" pitchFamily="34" charset="0"/>
              </a:rPr>
              <a:t>La Reina</a:t>
            </a:r>
            <a:endParaRPr lang="es-CL" sz="1200" dirty="0">
              <a:solidFill>
                <a:srgbClr val="0070C0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EFC5F656-A19B-BE56-B3DD-6559DC9817D8}"/>
              </a:ext>
            </a:extLst>
          </p:cNvPr>
          <p:cNvSpPr/>
          <p:nvPr/>
        </p:nvSpPr>
        <p:spPr>
          <a:xfrm>
            <a:off x="4614487" y="1317721"/>
            <a:ext cx="229086" cy="20179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1AEFB941-62C1-6EC8-36A5-97A45986B178}"/>
              </a:ext>
            </a:extLst>
          </p:cNvPr>
          <p:cNvSpPr/>
          <p:nvPr/>
        </p:nvSpPr>
        <p:spPr>
          <a:xfrm>
            <a:off x="3577975" y="1099676"/>
            <a:ext cx="12051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 err="1">
                <a:latin typeface="Calibri" panose="020F0502020204030204" pitchFamily="34" charset="0"/>
              </a:rPr>
              <a:t>Colo</a:t>
            </a:r>
            <a:r>
              <a:rPr lang="es-CL" dirty="0">
                <a:latin typeface="Calibri" panose="020F0502020204030204" pitchFamily="34" charset="0"/>
              </a:rPr>
              <a:t> </a:t>
            </a:r>
            <a:r>
              <a:rPr lang="es-CL" dirty="0" err="1">
                <a:latin typeface="Calibri" panose="020F0502020204030204" pitchFamily="34" charset="0"/>
              </a:rPr>
              <a:t>Colo</a:t>
            </a:r>
            <a:endParaRPr lang="es-CL" dirty="0">
              <a:latin typeface="Calibri" panose="020F0502020204030204" pitchFamily="34" charset="0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AAD4D8CC-B96B-C6F1-5101-50C8ADE6391F}"/>
              </a:ext>
            </a:extLst>
          </p:cNvPr>
          <p:cNvSpPr/>
          <p:nvPr/>
        </p:nvSpPr>
        <p:spPr>
          <a:xfrm>
            <a:off x="6683267" y="2065421"/>
            <a:ext cx="229086" cy="201796"/>
          </a:xfrm>
          <a:prstGeom prst="rect">
            <a:avLst/>
          </a:prstGeom>
          <a:solidFill>
            <a:srgbClr val="008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93D62563-61DF-4BE5-48C6-76D5B2B19DD7}"/>
              </a:ext>
            </a:extLst>
          </p:cNvPr>
          <p:cNvSpPr/>
          <p:nvPr/>
        </p:nvSpPr>
        <p:spPr>
          <a:xfrm>
            <a:off x="6879557" y="2009705"/>
            <a:ext cx="11377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8000"/>
                </a:solidFill>
                <a:latin typeface="Calibri" panose="020F0502020204030204" pitchFamily="34" charset="0"/>
              </a:rPr>
              <a:t>El Salto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8E6426A4-B107-86A9-80C4-D7CA1E50F608}"/>
              </a:ext>
            </a:extLst>
          </p:cNvPr>
          <p:cNvSpPr/>
          <p:nvPr/>
        </p:nvSpPr>
        <p:spPr>
          <a:xfrm>
            <a:off x="4122604" y="2936533"/>
            <a:ext cx="229086" cy="201796"/>
          </a:xfrm>
          <a:prstGeom prst="rect">
            <a:avLst/>
          </a:prstGeom>
          <a:solidFill>
            <a:srgbClr val="E434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BA1648EA-FED2-F576-8C00-90ED69A25CA3}"/>
              </a:ext>
            </a:extLst>
          </p:cNvPr>
          <p:cNvSpPr/>
          <p:nvPr/>
        </p:nvSpPr>
        <p:spPr>
          <a:xfrm>
            <a:off x="3050852" y="2852765"/>
            <a:ext cx="10718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FF0000"/>
                </a:solidFill>
                <a:latin typeface="Calibri" panose="020F0502020204030204" pitchFamily="34" charset="0"/>
              </a:rPr>
              <a:t>Pudahuel</a:t>
            </a: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A1A6B311-6468-498C-4DBB-3806A9DDACEB}"/>
              </a:ext>
            </a:extLst>
          </p:cNvPr>
          <p:cNvSpPr/>
          <p:nvPr/>
        </p:nvSpPr>
        <p:spPr>
          <a:xfrm>
            <a:off x="7581320" y="4920062"/>
            <a:ext cx="229086" cy="201796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2A986C47-6F07-C935-9A1B-B63B54556EAC}"/>
              </a:ext>
            </a:extLst>
          </p:cNvPr>
          <p:cNvSpPr/>
          <p:nvPr/>
        </p:nvSpPr>
        <p:spPr>
          <a:xfrm>
            <a:off x="7762856" y="4692180"/>
            <a:ext cx="17442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70C0"/>
                </a:solidFill>
                <a:latin typeface="Calibri" panose="020F0502020204030204" pitchFamily="34" charset="0"/>
              </a:rPr>
              <a:t>María Angélica</a:t>
            </a: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BA7CA690-6723-A0C9-F4BB-478B8810E08E}"/>
              </a:ext>
            </a:extLst>
          </p:cNvPr>
          <p:cNvSpPr/>
          <p:nvPr/>
        </p:nvSpPr>
        <p:spPr>
          <a:xfrm>
            <a:off x="4558175" y="1729192"/>
            <a:ext cx="229086" cy="201796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id="{DD1FD016-5E26-3A67-B3A4-FFE2FA22EAA6}"/>
              </a:ext>
            </a:extLst>
          </p:cNvPr>
          <p:cNvSpPr/>
          <p:nvPr/>
        </p:nvSpPr>
        <p:spPr>
          <a:xfrm>
            <a:off x="3310318" y="1679968"/>
            <a:ext cx="13405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70C0"/>
                </a:solidFill>
                <a:latin typeface="Calibri" panose="020F0502020204030204" pitchFamily="34" charset="0"/>
              </a:rPr>
              <a:t>Lo Echevers</a:t>
            </a: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A47772D0-DE6B-60F6-B377-F8DF68346F4C}"/>
              </a:ext>
            </a:extLst>
          </p:cNvPr>
          <p:cNvSpPr/>
          <p:nvPr/>
        </p:nvSpPr>
        <p:spPr>
          <a:xfrm>
            <a:off x="3050852" y="3095556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FF0000"/>
                </a:solidFill>
                <a:latin typeface="+mj-lt"/>
                <a:cs typeface="Biome" panose="020B0502040204020203" pitchFamily="34" charset="0"/>
              </a:rPr>
              <a:t>ENERO 2023</a:t>
            </a: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DEE3A548-9C84-B3DB-B8A9-EB0300E2DE3C}"/>
              </a:ext>
            </a:extLst>
          </p:cNvPr>
          <p:cNvSpPr/>
          <p:nvPr/>
        </p:nvSpPr>
        <p:spPr>
          <a:xfrm>
            <a:off x="8146820" y="3362673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0070C0"/>
                </a:solidFill>
                <a:latin typeface="+mj-lt"/>
                <a:cs typeface="Biome" panose="020B0502040204020203" pitchFamily="34" charset="0"/>
              </a:rPr>
              <a:t>FEBRERO 2023</a:t>
            </a:r>
          </a:p>
        </p:txBody>
      </p:sp>
      <p:sp>
        <p:nvSpPr>
          <p:cNvPr id="51" name="Rectángulo 50">
            <a:extLst>
              <a:ext uri="{FF2B5EF4-FFF2-40B4-BE49-F238E27FC236}">
                <a16:creationId xmlns:a16="http://schemas.microsoft.com/office/drawing/2014/main" id="{D450D948-D903-B653-3921-0232BA8F4B1E}"/>
              </a:ext>
            </a:extLst>
          </p:cNvPr>
          <p:cNvSpPr/>
          <p:nvPr/>
        </p:nvSpPr>
        <p:spPr>
          <a:xfrm>
            <a:off x="9260867" y="3922884"/>
            <a:ext cx="19336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FFC000"/>
                </a:solidFill>
                <a:latin typeface="+mj-lt"/>
                <a:cs typeface="Biome" panose="020B0502040204020203" pitchFamily="34" charset="0"/>
              </a:rPr>
              <a:t>MAYO 2023</a:t>
            </a:r>
          </a:p>
        </p:txBody>
      </p:sp>
      <p:sp>
        <p:nvSpPr>
          <p:cNvPr id="52" name="Rectángulo 51">
            <a:extLst>
              <a:ext uri="{FF2B5EF4-FFF2-40B4-BE49-F238E27FC236}">
                <a16:creationId xmlns:a16="http://schemas.microsoft.com/office/drawing/2014/main" id="{8215B67D-6A81-E69D-2560-6050859AB979}"/>
              </a:ext>
            </a:extLst>
          </p:cNvPr>
          <p:cNvSpPr/>
          <p:nvPr/>
        </p:nvSpPr>
        <p:spPr>
          <a:xfrm>
            <a:off x="7707431" y="4348552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0070C0"/>
                </a:solidFill>
                <a:latin typeface="+mj-lt"/>
                <a:cs typeface="Biome" panose="020B0502040204020203" pitchFamily="34" charset="0"/>
              </a:rPr>
              <a:t>FEBRERO 2023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7F8FFC6F-07A5-8D5E-04B5-FA7C7F99D90B}"/>
              </a:ext>
            </a:extLst>
          </p:cNvPr>
          <p:cNvSpPr/>
          <p:nvPr/>
        </p:nvSpPr>
        <p:spPr>
          <a:xfrm>
            <a:off x="6933274" y="1529825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0070C0"/>
                </a:solidFill>
                <a:latin typeface="+mj-lt"/>
                <a:cs typeface="Biome" panose="020B0502040204020203" pitchFamily="34" charset="0"/>
              </a:rPr>
              <a:t>FEBRERO 2023</a:t>
            </a: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F9252CA3-8F7B-B686-FC41-5DA057FB7664}"/>
              </a:ext>
            </a:extLst>
          </p:cNvPr>
          <p:cNvSpPr/>
          <p:nvPr/>
        </p:nvSpPr>
        <p:spPr>
          <a:xfrm>
            <a:off x="3345605" y="1911256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0070C0"/>
                </a:solidFill>
                <a:latin typeface="+mj-lt"/>
                <a:cs typeface="Biome" panose="020B0502040204020203" pitchFamily="34" charset="0"/>
              </a:rPr>
              <a:t>FEBRERO 2023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2703DEA8-51F8-F862-B71D-CE41F2A5662F}"/>
              </a:ext>
            </a:extLst>
          </p:cNvPr>
          <p:cNvSpPr/>
          <p:nvPr/>
        </p:nvSpPr>
        <p:spPr>
          <a:xfrm>
            <a:off x="8037030" y="4929458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0070C0"/>
                </a:solidFill>
                <a:latin typeface="+mj-lt"/>
                <a:cs typeface="Biome" panose="020B0502040204020203" pitchFamily="34" charset="0"/>
              </a:rPr>
              <a:t>FEBRERO 2023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7957DFA0-13DF-6EEA-AC22-BA0820638B9C}"/>
              </a:ext>
            </a:extLst>
          </p:cNvPr>
          <p:cNvSpPr/>
          <p:nvPr/>
        </p:nvSpPr>
        <p:spPr>
          <a:xfrm>
            <a:off x="6683267" y="2234893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008000"/>
                </a:solidFill>
                <a:latin typeface="+mj-lt"/>
                <a:cs typeface="Biome" panose="020B0502040204020203" pitchFamily="34" charset="0"/>
              </a:rPr>
              <a:t>MARZO 2023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253B799A-DBFC-2B17-E949-9FDF029B04B8}"/>
              </a:ext>
            </a:extLst>
          </p:cNvPr>
          <p:cNvSpPr/>
          <p:nvPr/>
        </p:nvSpPr>
        <p:spPr>
          <a:xfrm>
            <a:off x="6584516" y="6569858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008000"/>
                </a:solidFill>
                <a:latin typeface="+mj-lt"/>
                <a:cs typeface="Biome" panose="020B0502040204020203" pitchFamily="34" charset="0"/>
              </a:rPr>
              <a:t>MARZO 2023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id="{E725208E-BB7D-C8F9-FB68-1CE0015A969F}"/>
              </a:ext>
            </a:extLst>
          </p:cNvPr>
          <p:cNvSpPr/>
          <p:nvPr/>
        </p:nvSpPr>
        <p:spPr>
          <a:xfrm>
            <a:off x="5674816" y="5741907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008000"/>
                </a:solidFill>
                <a:latin typeface="+mj-lt"/>
                <a:cs typeface="Biome" panose="020B0502040204020203" pitchFamily="34" charset="0"/>
              </a:rPr>
              <a:t>MARZO 2023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80EAF595-D237-2794-809F-60A06147FCAB}"/>
              </a:ext>
            </a:extLst>
          </p:cNvPr>
          <p:cNvSpPr/>
          <p:nvPr/>
        </p:nvSpPr>
        <p:spPr>
          <a:xfrm>
            <a:off x="8283044" y="6071975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solidFill>
                  <a:srgbClr val="008000"/>
                </a:solidFill>
                <a:latin typeface="+mj-lt"/>
                <a:cs typeface="Biome" panose="020B0502040204020203" pitchFamily="34" charset="0"/>
              </a:rPr>
              <a:t>MARZO 2023</a:t>
            </a: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8A7E531D-2C68-216B-AAFD-0B738D4C7CC3}"/>
              </a:ext>
            </a:extLst>
          </p:cNvPr>
          <p:cNvSpPr/>
          <p:nvPr/>
        </p:nvSpPr>
        <p:spPr>
          <a:xfrm>
            <a:off x="3643010" y="1339837"/>
            <a:ext cx="25202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latin typeface="+mj-lt"/>
                <a:cs typeface="Biome" panose="020B0502040204020203" pitchFamily="34" charset="0"/>
              </a:rPr>
              <a:t>ABRIL 2023</a:t>
            </a:r>
          </a:p>
        </p:txBody>
      </p:sp>
      <p:sp>
        <p:nvSpPr>
          <p:cNvPr id="61" name="Rectángulo 60">
            <a:extLst>
              <a:ext uri="{FF2B5EF4-FFF2-40B4-BE49-F238E27FC236}">
                <a16:creationId xmlns:a16="http://schemas.microsoft.com/office/drawing/2014/main" id="{245992D1-2CFE-915B-5C4F-36920A9C93DA}"/>
              </a:ext>
            </a:extLst>
          </p:cNvPr>
          <p:cNvSpPr/>
          <p:nvPr/>
        </p:nvSpPr>
        <p:spPr>
          <a:xfrm>
            <a:off x="5289352" y="1206022"/>
            <a:ext cx="10728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sz="1400" b="1" dirty="0">
                <a:latin typeface="+mj-lt"/>
                <a:cs typeface="Biome" panose="020B0502040204020203" pitchFamily="34" charset="0"/>
              </a:rPr>
              <a:t>ABRIL 2023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BCF0BEE7-4596-C266-7068-45489DDD41D9}"/>
              </a:ext>
            </a:extLst>
          </p:cNvPr>
          <p:cNvSpPr/>
          <p:nvPr/>
        </p:nvSpPr>
        <p:spPr>
          <a:xfrm>
            <a:off x="7880761" y="5302901"/>
            <a:ext cx="20443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"/>
            <a:r>
              <a:rPr lang="es-CL" dirty="0">
                <a:solidFill>
                  <a:srgbClr val="008000"/>
                </a:solidFill>
                <a:latin typeface="Calibri" panose="020F0502020204030204" pitchFamily="34" charset="0"/>
              </a:rPr>
              <a:t>Camilo Henríquez</a:t>
            </a:r>
          </a:p>
        </p:txBody>
      </p:sp>
    </p:spTree>
    <p:extLst>
      <p:ext uri="{BB962C8B-B14F-4D97-AF65-F5344CB8AC3E}">
        <p14:creationId xmlns:p14="http://schemas.microsoft.com/office/powerpoint/2010/main" val="21148249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B78E5C53-2EC5-194E-BA33-8CEEBCF585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14" name="CuadroTexto 13">
            <a:extLst>
              <a:ext uri="{FF2B5EF4-FFF2-40B4-BE49-F238E27FC236}">
                <a16:creationId xmlns:a16="http://schemas.microsoft.com/office/drawing/2014/main" id="{3D4A0B22-700E-714F-84C5-235670F2161A}"/>
              </a:ext>
            </a:extLst>
          </p:cNvPr>
          <p:cNvSpPr txBox="1"/>
          <p:nvPr/>
        </p:nvSpPr>
        <p:spPr>
          <a:xfrm>
            <a:off x="4609567" y="2828835"/>
            <a:ext cx="2972865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7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cias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D529AA0C-A308-5A46-BC4E-83D9B43CD5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528" y="240472"/>
            <a:ext cx="1932296" cy="17640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568814F3-E48C-144C-939B-F6456026728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236" b="5056"/>
          <a:stretch/>
        </p:blipFill>
        <p:spPr>
          <a:xfrm>
            <a:off x="2180379" y="240472"/>
            <a:ext cx="1466506" cy="17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559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23DC1609-4051-A74C-A14D-786A055406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937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8D85FEA8-40A1-6748-A2C9-F29C889DD902}"/>
              </a:ext>
            </a:extLst>
          </p:cNvPr>
          <p:cNvSpPr txBox="1"/>
          <p:nvPr/>
        </p:nvSpPr>
        <p:spPr>
          <a:xfrm>
            <a:off x="597689" y="482282"/>
            <a:ext cx="78078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b="1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ndes números de la licitación</a:t>
            </a:r>
            <a:endParaRPr lang="es-CL" sz="4400" b="1">
              <a:solidFill>
                <a:srgbClr val="00AA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ED6087C-FC10-A34A-8B7F-8B5958F333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36" y="451835"/>
            <a:ext cx="361006" cy="690066"/>
          </a:xfrm>
          <a:prstGeom prst="rect">
            <a:avLst/>
          </a:prstGeom>
        </p:spPr>
      </p:pic>
      <p:pic>
        <p:nvPicPr>
          <p:cNvPr id="47" name="Imagen 3" descr="MapaBlanco.png">
            <a:extLst>
              <a:ext uri="{FF2B5EF4-FFF2-40B4-BE49-F238E27FC236}">
                <a16:creationId xmlns:a16="http://schemas.microsoft.com/office/drawing/2014/main" id="{D75D19AA-6F25-0832-1CC7-27949BE585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790776" y="1124744"/>
            <a:ext cx="4131516" cy="5417706"/>
          </a:xfrm>
          <a:prstGeom prst="rect">
            <a:avLst/>
          </a:prstGeom>
        </p:spPr>
      </p:pic>
      <p:grpSp>
        <p:nvGrpSpPr>
          <p:cNvPr id="49" name="Grupo 48">
            <a:extLst>
              <a:ext uri="{FF2B5EF4-FFF2-40B4-BE49-F238E27FC236}">
                <a16:creationId xmlns:a16="http://schemas.microsoft.com/office/drawing/2014/main" id="{D6819543-977A-256C-ED1B-9283CD4D76CF}"/>
              </a:ext>
            </a:extLst>
          </p:cNvPr>
          <p:cNvGrpSpPr/>
          <p:nvPr/>
        </p:nvGrpSpPr>
        <p:grpSpPr>
          <a:xfrm>
            <a:off x="2493402" y="3687663"/>
            <a:ext cx="1773242" cy="1393879"/>
            <a:chOff x="10069506" y="2663066"/>
            <a:chExt cx="1773242" cy="1393879"/>
          </a:xfrm>
        </p:grpSpPr>
        <p:sp>
          <p:nvSpPr>
            <p:cNvPr id="50" name="Rectángulo 49">
              <a:extLst>
                <a:ext uri="{FF2B5EF4-FFF2-40B4-BE49-F238E27FC236}">
                  <a16:creationId xmlns:a16="http://schemas.microsoft.com/office/drawing/2014/main" id="{C7BB0B27-3F59-E837-2419-BD1DEB1D563B}"/>
                </a:ext>
              </a:extLst>
            </p:cNvPr>
            <p:cNvSpPr/>
            <p:nvPr/>
          </p:nvSpPr>
          <p:spPr>
            <a:xfrm>
              <a:off x="10513538" y="3363258"/>
              <a:ext cx="885179" cy="4462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2300" b="1"/>
                <a:t>buses</a:t>
              </a:r>
              <a:endParaRPr lang="es-CL" sz="2300"/>
            </a:p>
          </p:txBody>
        </p:sp>
        <p:sp>
          <p:nvSpPr>
            <p:cNvPr id="51" name="Rectángulo 50">
              <a:extLst>
                <a:ext uri="{FF2B5EF4-FFF2-40B4-BE49-F238E27FC236}">
                  <a16:creationId xmlns:a16="http://schemas.microsoft.com/office/drawing/2014/main" id="{267029D2-45BF-6674-1F2C-B29599FC1EDF}"/>
                </a:ext>
              </a:extLst>
            </p:cNvPr>
            <p:cNvSpPr/>
            <p:nvPr/>
          </p:nvSpPr>
          <p:spPr>
            <a:xfrm>
              <a:off x="10069506" y="2663066"/>
              <a:ext cx="1773242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5400" b="1"/>
                <a:t>2.300</a:t>
              </a:r>
            </a:p>
          </p:txBody>
        </p:sp>
        <p:sp>
          <p:nvSpPr>
            <p:cNvPr id="52" name="Rectángulo 51">
              <a:extLst>
                <a:ext uri="{FF2B5EF4-FFF2-40B4-BE49-F238E27FC236}">
                  <a16:creationId xmlns:a16="http://schemas.microsoft.com/office/drawing/2014/main" id="{59080CA4-1F43-16AE-0A12-BDE1562D2D89}"/>
                </a:ext>
              </a:extLst>
            </p:cNvPr>
            <p:cNvSpPr/>
            <p:nvPr/>
          </p:nvSpPr>
          <p:spPr>
            <a:xfrm>
              <a:off x="10158697" y="3656835"/>
              <a:ext cx="1594860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2000" b="1"/>
                <a:t>1.600 nuevos</a:t>
              </a:r>
            </a:p>
          </p:txBody>
        </p:sp>
      </p:grpSp>
      <p:grpSp>
        <p:nvGrpSpPr>
          <p:cNvPr id="60" name="Grupo 59">
            <a:extLst>
              <a:ext uri="{FF2B5EF4-FFF2-40B4-BE49-F238E27FC236}">
                <a16:creationId xmlns:a16="http://schemas.microsoft.com/office/drawing/2014/main" id="{C752A016-73C1-10FB-4269-5C7158BC18EB}"/>
              </a:ext>
            </a:extLst>
          </p:cNvPr>
          <p:cNvGrpSpPr/>
          <p:nvPr/>
        </p:nvGrpSpPr>
        <p:grpSpPr>
          <a:xfrm>
            <a:off x="251836" y="3687663"/>
            <a:ext cx="1935482" cy="1666988"/>
            <a:chOff x="287111" y="2987143"/>
            <a:chExt cx="1935482" cy="1666988"/>
          </a:xfrm>
        </p:grpSpPr>
        <p:sp>
          <p:nvSpPr>
            <p:cNvPr id="61" name="Rectángulo 60">
              <a:extLst>
                <a:ext uri="{FF2B5EF4-FFF2-40B4-BE49-F238E27FC236}">
                  <a16:creationId xmlns:a16="http://schemas.microsoft.com/office/drawing/2014/main" id="{D8790860-4EBD-C2D5-904B-9059ACF94BA6}"/>
                </a:ext>
              </a:extLst>
            </p:cNvPr>
            <p:cNvSpPr/>
            <p:nvPr/>
          </p:nvSpPr>
          <p:spPr>
            <a:xfrm>
              <a:off x="652226" y="3606461"/>
              <a:ext cx="1141979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MX" sz="2000" b="1"/>
                <a:t>comunas</a:t>
              </a:r>
              <a:endParaRPr lang="es-CL" sz="2000" b="1"/>
            </a:p>
          </p:txBody>
        </p:sp>
        <p:sp>
          <p:nvSpPr>
            <p:cNvPr id="62" name="Rectángulo 61">
              <a:extLst>
                <a:ext uri="{FF2B5EF4-FFF2-40B4-BE49-F238E27FC236}">
                  <a16:creationId xmlns:a16="http://schemas.microsoft.com/office/drawing/2014/main" id="{C2E75F83-EB69-291E-8897-0CFF555E08F2}"/>
                </a:ext>
              </a:extLst>
            </p:cNvPr>
            <p:cNvSpPr/>
            <p:nvPr/>
          </p:nvSpPr>
          <p:spPr>
            <a:xfrm>
              <a:off x="779825" y="2987143"/>
              <a:ext cx="886781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5400" b="1"/>
                <a:t>12</a:t>
              </a:r>
            </a:p>
          </p:txBody>
        </p:sp>
        <p:sp>
          <p:nvSpPr>
            <p:cNvPr id="63" name="Rectángulo 62">
              <a:extLst>
                <a:ext uri="{FF2B5EF4-FFF2-40B4-BE49-F238E27FC236}">
                  <a16:creationId xmlns:a16="http://schemas.microsoft.com/office/drawing/2014/main" id="{42C5EEAD-ACAE-D590-4ABC-5C3BA65F0A6A}"/>
                </a:ext>
              </a:extLst>
            </p:cNvPr>
            <p:cNvSpPr/>
            <p:nvPr/>
          </p:nvSpPr>
          <p:spPr>
            <a:xfrm>
              <a:off x="287111" y="3915467"/>
              <a:ext cx="1935482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CL" sz="1400"/>
                <a:t>con al menos </a:t>
              </a:r>
              <a:r>
                <a:rPr lang="es-CL" sz="1400" b="1"/>
                <a:t>50% de sus recorridos licitados</a:t>
              </a:r>
              <a:r>
                <a:rPr lang="es-MX" sz="1400">
                  <a:latin typeface="Courier New" panose="02070309020205020404" pitchFamily="49" charset="0"/>
                  <a:cs typeface="Courier New" panose="02070309020205020404" pitchFamily="49" charset="0"/>
                </a:rPr>
                <a:t>*</a:t>
              </a:r>
              <a:endParaRPr lang="es-CL" sz="1400"/>
            </a:p>
          </p:txBody>
        </p:sp>
      </p:grpSp>
      <p:grpSp>
        <p:nvGrpSpPr>
          <p:cNvPr id="64" name="Grupo 63">
            <a:extLst>
              <a:ext uri="{FF2B5EF4-FFF2-40B4-BE49-F238E27FC236}">
                <a16:creationId xmlns:a16="http://schemas.microsoft.com/office/drawing/2014/main" id="{01C35F59-5B12-D326-67B6-4FAB0DDEF43C}"/>
              </a:ext>
            </a:extLst>
          </p:cNvPr>
          <p:cNvGrpSpPr/>
          <p:nvPr/>
        </p:nvGrpSpPr>
        <p:grpSpPr>
          <a:xfrm>
            <a:off x="2447485" y="1797150"/>
            <a:ext cx="1885142" cy="1580854"/>
            <a:chOff x="591465" y="1319361"/>
            <a:chExt cx="1885142" cy="1580854"/>
          </a:xfrm>
        </p:grpSpPr>
        <p:sp>
          <p:nvSpPr>
            <p:cNvPr id="65" name="Rectángulo 64">
              <a:extLst>
                <a:ext uri="{FF2B5EF4-FFF2-40B4-BE49-F238E27FC236}">
                  <a16:creationId xmlns:a16="http://schemas.microsoft.com/office/drawing/2014/main" id="{9BE6B98A-E8F6-EA68-1C85-97CC3008198F}"/>
                </a:ext>
              </a:extLst>
            </p:cNvPr>
            <p:cNvSpPr/>
            <p:nvPr/>
          </p:nvSpPr>
          <p:spPr>
            <a:xfrm>
              <a:off x="898766" y="2065694"/>
              <a:ext cx="1270540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MX" sz="2000" b="1"/>
                <a:t>recorridos</a:t>
              </a:r>
              <a:endParaRPr lang="es-CL" sz="2000" b="1"/>
            </a:p>
          </p:txBody>
        </p:sp>
        <p:sp>
          <p:nvSpPr>
            <p:cNvPr id="66" name="Rectángulo 65">
              <a:extLst>
                <a:ext uri="{FF2B5EF4-FFF2-40B4-BE49-F238E27FC236}">
                  <a16:creationId xmlns:a16="http://schemas.microsoft.com/office/drawing/2014/main" id="{932A5EC6-4E50-7D27-0132-C4C1F51C3B23}"/>
                </a:ext>
              </a:extLst>
            </p:cNvPr>
            <p:cNvSpPr/>
            <p:nvPr/>
          </p:nvSpPr>
          <p:spPr>
            <a:xfrm>
              <a:off x="915117" y="1319361"/>
              <a:ext cx="1237839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CL" sz="5400" b="1"/>
                <a:t>153</a:t>
              </a:r>
            </a:p>
          </p:txBody>
        </p:sp>
        <p:sp>
          <p:nvSpPr>
            <p:cNvPr id="67" name="Rectángulo 66">
              <a:extLst>
                <a:ext uri="{FF2B5EF4-FFF2-40B4-BE49-F238E27FC236}">
                  <a16:creationId xmlns:a16="http://schemas.microsoft.com/office/drawing/2014/main" id="{88673C0B-8D83-636A-47F6-A3D79ED824B6}"/>
                </a:ext>
              </a:extLst>
            </p:cNvPr>
            <p:cNvSpPr/>
            <p:nvPr/>
          </p:nvSpPr>
          <p:spPr>
            <a:xfrm>
              <a:off x="591465" y="2376995"/>
              <a:ext cx="188514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s-CL" sz="1400" b="1"/>
                <a:t>9 nuevos, </a:t>
              </a:r>
              <a:r>
                <a:rPr lang="es-CL" sz="1400"/>
                <a:t>8 eliminados por fusión</a:t>
              </a:r>
            </a:p>
          </p:txBody>
        </p:sp>
      </p:grpSp>
      <p:grpSp>
        <p:nvGrpSpPr>
          <p:cNvPr id="85" name="Grupo 84">
            <a:extLst>
              <a:ext uri="{FF2B5EF4-FFF2-40B4-BE49-F238E27FC236}">
                <a16:creationId xmlns:a16="http://schemas.microsoft.com/office/drawing/2014/main" id="{35479154-4637-3E09-5705-9562A72E128C}"/>
              </a:ext>
            </a:extLst>
          </p:cNvPr>
          <p:cNvGrpSpPr/>
          <p:nvPr/>
        </p:nvGrpSpPr>
        <p:grpSpPr>
          <a:xfrm>
            <a:off x="493189" y="1797150"/>
            <a:ext cx="1511952" cy="1347841"/>
            <a:chOff x="2382463" y="790830"/>
            <a:chExt cx="1511952" cy="1347841"/>
          </a:xfrm>
        </p:grpSpPr>
        <p:sp>
          <p:nvSpPr>
            <p:cNvPr id="86" name="Rectángulo 85">
              <a:extLst>
                <a:ext uri="{FF2B5EF4-FFF2-40B4-BE49-F238E27FC236}">
                  <a16:creationId xmlns:a16="http://schemas.microsoft.com/office/drawing/2014/main" id="{30169B65-CB0C-E07A-71E5-473526F47988}"/>
                </a:ext>
              </a:extLst>
            </p:cNvPr>
            <p:cNvSpPr/>
            <p:nvPr/>
          </p:nvSpPr>
          <p:spPr>
            <a:xfrm>
              <a:off x="2382463" y="1430785"/>
              <a:ext cx="1511952" cy="707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MX" sz="2000" b="1"/>
                <a:t>Unidades de</a:t>
              </a:r>
            </a:p>
            <a:p>
              <a:pPr algn="ctr"/>
              <a:r>
                <a:rPr lang="es-MX" sz="2000" b="1"/>
                <a:t>Servicios</a:t>
              </a:r>
              <a:endParaRPr lang="es-CL" sz="2000" b="1"/>
            </a:p>
          </p:txBody>
        </p:sp>
        <p:sp>
          <p:nvSpPr>
            <p:cNvPr id="87" name="Rectángulo 86">
              <a:extLst>
                <a:ext uri="{FF2B5EF4-FFF2-40B4-BE49-F238E27FC236}">
                  <a16:creationId xmlns:a16="http://schemas.microsoft.com/office/drawing/2014/main" id="{26346812-23AB-9436-C2B0-DA3D65FA2E36}"/>
                </a:ext>
              </a:extLst>
            </p:cNvPr>
            <p:cNvSpPr/>
            <p:nvPr/>
          </p:nvSpPr>
          <p:spPr>
            <a:xfrm>
              <a:off x="2870578" y="790830"/>
              <a:ext cx="535724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5400" b="1"/>
                <a:t>6</a:t>
              </a:r>
            </a:p>
          </p:txBody>
        </p:sp>
      </p:grpSp>
      <p:grpSp>
        <p:nvGrpSpPr>
          <p:cNvPr id="100" name="Grupo 99">
            <a:extLst>
              <a:ext uri="{FF2B5EF4-FFF2-40B4-BE49-F238E27FC236}">
                <a16:creationId xmlns:a16="http://schemas.microsoft.com/office/drawing/2014/main" id="{63F887B5-5E31-3E39-14A3-9F814ACC3B24}"/>
              </a:ext>
            </a:extLst>
          </p:cNvPr>
          <p:cNvGrpSpPr/>
          <p:nvPr/>
        </p:nvGrpSpPr>
        <p:grpSpPr>
          <a:xfrm>
            <a:off x="6433419" y="1784363"/>
            <a:ext cx="2308054" cy="1420702"/>
            <a:chOff x="7556104" y="2562760"/>
            <a:chExt cx="2308054" cy="1420702"/>
          </a:xfrm>
        </p:grpSpPr>
        <p:sp>
          <p:nvSpPr>
            <p:cNvPr id="101" name="Rectángulo 100">
              <a:extLst>
                <a:ext uri="{FF2B5EF4-FFF2-40B4-BE49-F238E27FC236}">
                  <a16:creationId xmlns:a16="http://schemas.microsoft.com/office/drawing/2014/main" id="{310D9448-37F6-481B-19BE-EBA00201ED0E}"/>
                </a:ext>
              </a:extLst>
            </p:cNvPr>
            <p:cNvSpPr/>
            <p:nvPr/>
          </p:nvSpPr>
          <p:spPr>
            <a:xfrm>
              <a:off x="7556104" y="3275576"/>
              <a:ext cx="2308054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MX" sz="2000" b="1"/>
                <a:t>servicios del sistema </a:t>
              </a:r>
              <a:r>
                <a:rPr lang="es-MX" sz="2000"/>
                <a:t>en licitación</a:t>
              </a:r>
              <a:endParaRPr lang="es-CL" sz="2000"/>
            </a:p>
          </p:txBody>
        </p:sp>
        <p:sp>
          <p:nvSpPr>
            <p:cNvPr id="102" name="Rectángulo 101">
              <a:extLst>
                <a:ext uri="{FF2B5EF4-FFF2-40B4-BE49-F238E27FC236}">
                  <a16:creationId xmlns:a16="http://schemas.microsoft.com/office/drawing/2014/main" id="{7A30354D-36F1-C57D-6C21-1FA66681EAC2}"/>
                </a:ext>
              </a:extLst>
            </p:cNvPr>
            <p:cNvSpPr/>
            <p:nvPr/>
          </p:nvSpPr>
          <p:spPr>
            <a:xfrm>
              <a:off x="8014267" y="2562760"/>
              <a:ext cx="1391728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5400" b="1" dirty="0"/>
                <a:t>40%</a:t>
              </a:r>
            </a:p>
          </p:txBody>
        </p:sp>
      </p:grpSp>
      <p:sp>
        <p:nvSpPr>
          <p:cNvPr id="123" name="CuadroTexto 122">
            <a:extLst>
              <a:ext uri="{FF2B5EF4-FFF2-40B4-BE49-F238E27FC236}">
                <a16:creationId xmlns:a16="http://schemas.microsoft.com/office/drawing/2014/main" id="{D804E030-276E-D44A-5C1B-1591F350F9F6}"/>
              </a:ext>
            </a:extLst>
          </p:cNvPr>
          <p:cNvSpPr txBox="1"/>
          <p:nvPr/>
        </p:nvSpPr>
        <p:spPr>
          <a:xfrm>
            <a:off x="7483534" y="5863215"/>
            <a:ext cx="410903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100" i="1" dirty="0"/>
              <a:t>Comunas de z</a:t>
            </a:r>
            <a:r>
              <a:rPr lang="es-CL" sz="1100" i="1" dirty="0" err="1"/>
              <a:t>onas</a:t>
            </a:r>
            <a:r>
              <a:rPr lang="es-CL" sz="1100" i="1" dirty="0"/>
              <a:t> Norte y Oriente de Santiago y Puente Alto</a:t>
            </a:r>
          </a:p>
        </p:txBody>
      </p:sp>
      <p:grpSp>
        <p:nvGrpSpPr>
          <p:cNvPr id="125" name="Grupo 124">
            <a:extLst>
              <a:ext uri="{FF2B5EF4-FFF2-40B4-BE49-F238E27FC236}">
                <a16:creationId xmlns:a16="http://schemas.microsoft.com/office/drawing/2014/main" id="{AF04859E-93A1-4E24-18AD-C7DA4A8AEACF}"/>
              </a:ext>
            </a:extLst>
          </p:cNvPr>
          <p:cNvGrpSpPr/>
          <p:nvPr/>
        </p:nvGrpSpPr>
        <p:grpSpPr>
          <a:xfrm>
            <a:off x="4744960" y="3687663"/>
            <a:ext cx="1219308" cy="1116497"/>
            <a:chOff x="7746396" y="4686024"/>
            <a:chExt cx="1219308" cy="1116497"/>
          </a:xfrm>
        </p:grpSpPr>
        <p:sp>
          <p:nvSpPr>
            <p:cNvPr id="126" name="Rectángulo 125">
              <a:extLst>
                <a:ext uri="{FF2B5EF4-FFF2-40B4-BE49-F238E27FC236}">
                  <a16:creationId xmlns:a16="http://schemas.microsoft.com/office/drawing/2014/main" id="{4A6DE2D0-49D5-0889-F46C-9EB975D9DFD4}"/>
                </a:ext>
              </a:extLst>
            </p:cNvPr>
            <p:cNvSpPr/>
            <p:nvPr/>
          </p:nvSpPr>
          <p:spPr>
            <a:xfrm>
              <a:off x="7746396" y="5402411"/>
              <a:ext cx="1219308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MX" sz="2000" b="1"/>
                <a:t>depósitos</a:t>
              </a:r>
              <a:endParaRPr lang="es-CL" sz="2000" b="1"/>
            </a:p>
          </p:txBody>
        </p:sp>
        <p:sp>
          <p:nvSpPr>
            <p:cNvPr id="127" name="Rectángulo 126">
              <a:extLst>
                <a:ext uri="{FF2B5EF4-FFF2-40B4-BE49-F238E27FC236}">
                  <a16:creationId xmlns:a16="http://schemas.microsoft.com/office/drawing/2014/main" id="{EF7C6328-1E9B-A8DE-7672-BFED1169F63E}"/>
                </a:ext>
              </a:extLst>
            </p:cNvPr>
            <p:cNvSpPr/>
            <p:nvPr/>
          </p:nvSpPr>
          <p:spPr>
            <a:xfrm>
              <a:off x="7922440" y="4686024"/>
              <a:ext cx="886781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ES" sz="5400" b="1"/>
                <a:t>18</a:t>
              </a:r>
              <a:endParaRPr lang="es-CL" sz="5400" b="1"/>
            </a:p>
          </p:txBody>
        </p:sp>
      </p:grpSp>
      <p:grpSp>
        <p:nvGrpSpPr>
          <p:cNvPr id="2" name="Grupo 1">
            <a:extLst>
              <a:ext uri="{FF2B5EF4-FFF2-40B4-BE49-F238E27FC236}">
                <a16:creationId xmlns:a16="http://schemas.microsoft.com/office/drawing/2014/main" id="{8A9A5EDB-2493-4481-EFD2-0B226A5257E1}"/>
              </a:ext>
            </a:extLst>
          </p:cNvPr>
          <p:cNvGrpSpPr/>
          <p:nvPr/>
        </p:nvGrpSpPr>
        <p:grpSpPr>
          <a:xfrm>
            <a:off x="6387577" y="3687663"/>
            <a:ext cx="2393732" cy="1220059"/>
            <a:chOff x="3021101" y="3093706"/>
            <a:chExt cx="2393732" cy="1220059"/>
          </a:xfrm>
        </p:grpSpPr>
        <p:sp>
          <p:nvSpPr>
            <p:cNvPr id="29" name="Rectángulo 28">
              <a:extLst>
                <a:ext uri="{FF2B5EF4-FFF2-40B4-BE49-F238E27FC236}">
                  <a16:creationId xmlns:a16="http://schemas.microsoft.com/office/drawing/2014/main" id="{7F1F4D81-7135-B04D-3DCB-A5E44E641909}"/>
                </a:ext>
              </a:extLst>
            </p:cNvPr>
            <p:cNvSpPr/>
            <p:nvPr/>
          </p:nvSpPr>
          <p:spPr>
            <a:xfrm>
              <a:off x="3021101" y="3913655"/>
              <a:ext cx="239373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MX" sz="2000" b="1"/>
                <a:t>paradas </a:t>
              </a:r>
              <a:r>
                <a:rPr lang="es-MX" sz="2000"/>
                <a:t>involucradas</a:t>
              </a:r>
              <a:endParaRPr lang="es-CL" sz="2000"/>
            </a:p>
          </p:txBody>
        </p:sp>
        <p:sp>
          <p:nvSpPr>
            <p:cNvPr id="30" name="Rectángulo 29">
              <a:extLst>
                <a:ext uri="{FF2B5EF4-FFF2-40B4-BE49-F238E27FC236}">
                  <a16:creationId xmlns:a16="http://schemas.microsoft.com/office/drawing/2014/main" id="{4868926F-9738-9145-FEDE-8C7DF8D6205B}"/>
                </a:ext>
              </a:extLst>
            </p:cNvPr>
            <p:cNvSpPr/>
            <p:nvPr/>
          </p:nvSpPr>
          <p:spPr>
            <a:xfrm>
              <a:off x="3338572" y="3093706"/>
              <a:ext cx="1773242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5400" b="1" dirty="0"/>
                <a:t>5.000</a:t>
              </a:r>
            </a:p>
          </p:txBody>
        </p:sp>
      </p:grpSp>
      <p:grpSp>
        <p:nvGrpSpPr>
          <p:cNvPr id="3" name="Grupo 2">
            <a:extLst>
              <a:ext uri="{FF2B5EF4-FFF2-40B4-BE49-F238E27FC236}">
                <a16:creationId xmlns:a16="http://schemas.microsoft.com/office/drawing/2014/main" id="{923A6258-0210-1F69-CC25-530BF61A1B37}"/>
              </a:ext>
            </a:extLst>
          </p:cNvPr>
          <p:cNvGrpSpPr/>
          <p:nvPr/>
        </p:nvGrpSpPr>
        <p:grpSpPr>
          <a:xfrm>
            <a:off x="8781309" y="1784363"/>
            <a:ext cx="3010761" cy="1238412"/>
            <a:chOff x="8548054" y="2769116"/>
            <a:chExt cx="3010761" cy="1238412"/>
          </a:xfrm>
        </p:grpSpPr>
        <p:sp>
          <p:nvSpPr>
            <p:cNvPr id="32" name="Rectángulo 31">
              <a:extLst>
                <a:ext uri="{FF2B5EF4-FFF2-40B4-BE49-F238E27FC236}">
                  <a16:creationId xmlns:a16="http://schemas.microsoft.com/office/drawing/2014/main" id="{BD949EF4-334C-15F5-8137-4D3324560718}"/>
                </a:ext>
              </a:extLst>
            </p:cNvPr>
            <p:cNvSpPr/>
            <p:nvPr/>
          </p:nvSpPr>
          <p:spPr>
            <a:xfrm>
              <a:off x="8837973" y="3607418"/>
              <a:ext cx="2430922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MX" sz="2000" b="1"/>
                <a:t>Transacciones diarias</a:t>
              </a:r>
              <a:endParaRPr lang="es-CL" sz="2000"/>
            </a:p>
          </p:txBody>
        </p:sp>
        <p:sp>
          <p:nvSpPr>
            <p:cNvPr id="33" name="Rectángulo 32">
              <a:extLst>
                <a:ext uri="{FF2B5EF4-FFF2-40B4-BE49-F238E27FC236}">
                  <a16:creationId xmlns:a16="http://schemas.microsoft.com/office/drawing/2014/main" id="{7741A6F4-D4CA-1E59-5632-9F1EFDE1BBE9}"/>
                </a:ext>
              </a:extLst>
            </p:cNvPr>
            <p:cNvSpPr/>
            <p:nvPr/>
          </p:nvSpPr>
          <p:spPr>
            <a:xfrm>
              <a:off x="8548054" y="2769116"/>
              <a:ext cx="3010761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5400" b="1"/>
                <a:t>1.000.000</a:t>
              </a:r>
            </a:p>
          </p:txBody>
        </p:sp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id="{3E489035-5742-E047-9A7C-56CB83B7C1AB}"/>
              </a:ext>
            </a:extLst>
          </p:cNvPr>
          <p:cNvGrpSpPr/>
          <p:nvPr/>
        </p:nvGrpSpPr>
        <p:grpSpPr>
          <a:xfrm>
            <a:off x="9293183" y="3558748"/>
            <a:ext cx="2111548" cy="1743339"/>
            <a:chOff x="9281415" y="3397592"/>
            <a:chExt cx="2111548" cy="1743339"/>
          </a:xfrm>
        </p:grpSpPr>
        <p:sp>
          <p:nvSpPr>
            <p:cNvPr id="35" name="Rectángulo 34">
              <a:extLst>
                <a:ext uri="{FF2B5EF4-FFF2-40B4-BE49-F238E27FC236}">
                  <a16:creationId xmlns:a16="http://schemas.microsoft.com/office/drawing/2014/main" id="{314D7483-8837-3FBB-12AE-6E36B58589E2}"/>
                </a:ext>
              </a:extLst>
            </p:cNvPr>
            <p:cNvSpPr/>
            <p:nvPr/>
          </p:nvSpPr>
          <p:spPr>
            <a:xfrm>
              <a:off x="9281415" y="4217601"/>
              <a:ext cx="2111548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MX"/>
                <a:t>sectores de la ciudad que tendrán </a:t>
              </a:r>
              <a:r>
                <a:rPr lang="es-MX" b="1"/>
                <a:t>nueva cobertura</a:t>
              </a:r>
              <a:r>
                <a:rPr lang="es-MX" sz="1800">
                  <a:latin typeface="Courier New" panose="02070309020205020404" pitchFamily="49" charset="0"/>
                  <a:cs typeface="Courier New" panose="02070309020205020404" pitchFamily="49" charset="0"/>
                </a:rPr>
                <a:t>**</a:t>
              </a:r>
              <a:endParaRPr lang="es-CL" b="1"/>
            </a:p>
          </p:txBody>
        </p:sp>
        <p:sp>
          <p:nvSpPr>
            <p:cNvPr id="36" name="Rectángulo 35">
              <a:extLst>
                <a:ext uri="{FF2B5EF4-FFF2-40B4-BE49-F238E27FC236}">
                  <a16:creationId xmlns:a16="http://schemas.microsoft.com/office/drawing/2014/main" id="{562375A1-4EB2-C513-4D90-158292CDE98E}"/>
                </a:ext>
              </a:extLst>
            </p:cNvPr>
            <p:cNvSpPr/>
            <p:nvPr/>
          </p:nvSpPr>
          <p:spPr>
            <a:xfrm>
              <a:off x="9688321" y="3397592"/>
              <a:ext cx="1223412" cy="11079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s-CL" sz="6600" b="1" dirty="0"/>
                <a:t>11</a:t>
              </a:r>
            </a:p>
          </p:txBody>
        </p:sp>
      </p:grpSp>
      <p:sp>
        <p:nvSpPr>
          <p:cNvPr id="37" name="CuadroTexto 36">
            <a:extLst>
              <a:ext uri="{FF2B5EF4-FFF2-40B4-BE49-F238E27FC236}">
                <a16:creationId xmlns:a16="http://schemas.microsoft.com/office/drawing/2014/main" id="{CF41EB2A-5F4A-62D8-7CD5-C7EAE02B58E5}"/>
              </a:ext>
            </a:extLst>
          </p:cNvPr>
          <p:cNvSpPr txBox="1"/>
          <p:nvPr/>
        </p:nvSpPr>
        <p:spPr>
          <a:xfrm>
            <a:off x="7483534" y="6159944"/>
            <a:ext cx="44095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050" i="1" dirty="0"/>
              <a:t>El Carmen de </a:t>
            </a:r>
            <a:r>
              <a:rPr lang="es-MX" sz="1050" b="1" i="1" dirty="0"/>
              <a:t>Huechuraba</a:t>
            </a:r>
            <a:r>
              <a:rPr lang="es-MX" sz="1050" i="1" dirty="0"/>
              <a:t>, Buenaventura en </a:t>
            </a:r>
            <a:r>
              <a:rPr lang="es-MX" sz="1050" b="1" i="1" dirty="0"/>
              <a:t>Quilicura</a:t>
            </a:r>
            <a:r>
              <a:rPr lang="es-MX" sz="1050" i="1" dirty="0"/>
              <a:t>,</a:t>
            </a:r>
          </a:p>
          <a:p>
            <a:r>
              <a:rPr lang="es-MX" sz="1050" i="1" dirty="0"/>
              <a:t>El Remanso, </a:t>
            </a:r>
            <a:r>
              <a:rPr lang="es-MX" sz="1050" i="1" dirty="0" err="1"/>
              <a:t>Hdo</a:t>
            </a:r>
            <a:r>
              <a:rPr lang="es-MX" sz="1050" i="1" dirty="0"/>
              <a:t>. de Magallanes y </a:t>
            </a:r>
            <a:r>
              <a:rPr lang="es-CL" sz="1050" i="1" dirty="0"/>
              <a:t>República de Honduras en </a:t>
            </a:r>
            <a:r>
              <a:rPr lang="es-MX" sz="1050" b="1" i="1" dirty="0"/>
              <a:t>Las Condes</a:t>
            </a:r>
            <a:r>
              <a:rPr lang="es-MX" sz="1050" i="1" dirty="0"/>
              <a:t>,</a:t>
            </a:r>
          </a:p>
          <a:p>
            <a:r>
              <a:rPr lang="es-MX" sz="1050" i="1" dirty="0"/>
              <a:t>Villa San Alberto, Jorge Ross Ossa, Parque Alto y </a:t>
            </a:r>
            <a:r>
              <a:rPr lang="es-MX" sz="1050" i="1" dirty="0" err="1"/>
              <a:t>Hda</a:t>
            </a:r>
            <a:r>
              <a:rPr lang="es-MX" sz="1050" i="1" dirty="0"/>
              <a:t>. El Peñón en </a:t>
            </a:r>
            <a:r>
              <a:rPr lang="es-MX" sz="1050" b="1" i="1" dirty="0"/>
              <a:t>Puente Alto</a:t>
            </a: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B68CB00D-4A76-B803-3306-49ACCAADEE18}"/>
              </a:ext>
            </a:extLst>
          </p:cNvPr>
          <p:cNvSpPr txBox="1"/>
          <p:nvPr/>
        </p:nvSpPr>
        <p:spPr>
          <a:xfrm>
            <a:off x="7245404" y="5863215"/>
            <a:ext cx="2244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800" dirty="0">
                <a:latin typeface="Courier New" panose="02070309020205020404" pitchFamily="49" charset="0"/>
                <a:cs typeface="Courier New" panose="02070309020205020404" pitchFamily="49" charset="0"/>
              </a:rPr>
              <a:t>*</a:t>
            </a:r>
            <a:endParaRPr lang="es-CL" dirty="0"/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4E470BE2-2AF5-A32D-250B-B6707D68DF58}"/>
              </a:ext>
            </a:extLst>
          </p:cNvPr>
          <p:cNvSpPr txBox="1"/>
          <p:nvPr/>
        </p:nvSpPr>
        <p:spPr>
          <a:xfrm>
            <a:off x="7131266" y="6123117"/>
            <a:ext cx="9987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MX" sz="1800">
                <a:latin typeface="Courier New" panose="02070309020205020404" pitchFamily="49" charset="0"/>
                <a:cs typeface="Courier New" panose="02070309020205020404" pitchFamily="49" charset="0"/>
              </a:rPr>
              <a:t>**</a:t>
            </a:r>
            <a:endParaRPr lang="es-CL"/>
          </a:p>
        </p:txBody>
      </p:sp>
      <p:grpSp>
        <p:nvGrpSpPr>
          <p:cNvPr id="41" name="Grupo 40">
            <a:extLst>
              <a:ext uri="{FF2B5EF4-FFF2-40B4-BE49-F238E27FC236}">
                <a16:creationId xmlns:a16="http://schemas.microsoft.com/office/drawing/2014/main" id="{46A6835E-A72A-D938-0514-0EFF939EBC1D}"/>
              </a:ext>
            </a:extLst>
          </p:cNvPr>
          <p:cNvGrpSpPr/>
          <p:nvPr/>
        </p:nvGrpSpPr>
        <p:grpSpPr>
          <a:xfrm>
            <a:off x="4455356" y="1784363"/>
            <a:ext cx="1935482" cy="1360628"/>
            <a:chOff x="287111" y="2862616"/>
            <a:chExt cx="1935482" cy="1360628"/>
          </a:xfrm>
        </p:grpSpPr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386B30F3-6E96-6797-A439-8FB7208EC561}"/>
                </a:ext>
              </a:extLst>
            </p:cNvPr>
            <p:cNvSpPr/>
            <p:nvPr/>
          </p:nvSpPr>
          <p:spPr>
            <a:xfrm>
              <a:off x="383019" y="3606461"/>
              <a:ext cx="1680396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s-MX" sz="2000" b="1" dirty="0"/>
                <a:t>cambios al PO</a:t>
              </a:r>
              <a:endParaRPr lang="es-CL" sz="2000" b="1" dirty="0"/>
            </a:p>
          </p:txBody>
        </p:sp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id="{85180362-F645-1D1F-9F26-68F67F9A8834}"/>
                </a:ext>
              </a:extLst>
            </p:cNvPr>
            <p:cNvSpPr/>
            <p:nvPr/>
          </p:nvSpPr>
          <p:spPr>
            <a:xfrm>
              <a:off x="779825" y="2862616"/>
              <a:ext cx="886781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CL" sz="5400" b="1" dirty="0"/>
                <a:t>40</a:t>
              </a:r>
            </a:p>
          </p:txBody>
        </p:sp>
        <p:sp>
          <p:nvSpPr>
            <p:cNvPr id="44" name="Rectángulo 43">
              <a:extLst>
                <a:ext uri="{FF2B5EF4-FFF2-40B4-BE49-F238E27FC236}">
                  <a16:creationId xmlns:a16="http://schemas.microsoft.com/office/drawing/2014/main" id="{DDE7DE0D-6E0B-42A8-E55E-D220D0B9FAFA}"/>
                </a:ext>
              </a:extLst>
            </p:cNvPr>
            <p:cNvSpPr/>
            <p:nvPr/>
          </p:nvSpPr>
          <p:spPr>
            <a:xfrm>
              <a:off x="287111" y="3915467"/>
              <a:ext cx="1935482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es-CL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9148760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94D3BC5F-67B9-5B40-BE54-3F85C8EAA2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609850" cy="685800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23DC1609-4051-A74C-A14D-786A055406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7937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8D85FEA8-40A1-6748-A2C9-F29C889DD902}"/>
              </a:ext>
            </a:extLst>
          </p:cNvPr>
          <p:cNvSpPr txBox="1"/>
          <p:nvPr/>
        </p:nvSpPr>
        <p:spPr>
          <a:xfrm>
            <a:off x="597689" y="482282"/>
            <a:ext cx="413856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4400" b="1" dirty="0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¿Dónde se licita?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ED6087C-FC10-A34A-8B7F-8B5958F333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836" y="451835"/>
            <a:ext cx="361006" cy="690066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E7A525C3-3DD8-4F4B-8AF6-4567F708ED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82102" y="1449388"/>
            <a:ext cx="4797276" cy="4985762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1C6FA938-E348-4EA9-BC40-62ADFBA4B25D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75630" y="1622141"/>
            <a:ext cx="4434725" cy="4507725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A51B12C6-9019-4563-81CB-CA5B17B46D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52619" y="5515418"/>
            <a:ext cx="1800476" cy="1228896"/>
          </a:xfrm>
          <a:prstGeom prst="rect">
            <a:avLst/>
          </a:prstGeom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07AE1F33-A203-EA78-4FA4-C74567783422}"/>
              </a:ext>
            </a:extLst>
          </p:cNvPr>
          <p:cNvSpPr txBox="1"/>
          <p:nvPr/>
        </p:nvSpPr>
        <p:spPr>
          <a:xfrm>
            <a:off x="2609850" y="6083330"/>
            <a:ext cx="57127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32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 más de la mitad de Santiago !</a:t>
            </a:r>
          </a:p>
        </p:txBody>
      </p:sp>
    </p:spTree>
    <p:extLst>
      <p:ext uri="{BB962C8B-B14F-4D97-AF65-F5344CB8AC3E}">
        <p14:creationId xmlns:p14="http://schemas.microsoft.com/office/powerpoint/2010/main" val="298862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D4FEB957-2F2A-4642-AE45-7FF3B4A7B31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79375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87DD93E3-D715-4ED8-A56E-CE5D19D84EF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51836" y="451835"/>
            <a:ext cx="361006" cy="690066"/>
          </a:xfrm>
          <a:prstGeom prst="rect">
            <a:avLst/>
          </a:prstGeom>
        </p:spPr>
      </p:pic>
      <p:graphicFrame>
        <p:nvGraphicFramePr>
          <p:cNvPr id="25" name="Tabla 24">
            <a:extLst>
              <a:ext uri="{FF2B5EF4-FFF2-40B4-BE49-F238E27FC236}">
                <a16:creationId xmlns:a16="http://schemas.microsoft.com/office/drawing/2014/main" id="{13A6E464-8545-4252-B385-89698DF371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26239"/>
              </p:ext>
            </p:extLst>
          </p:nvPr>
        </p:nvGraphicFramePr>
        <p:xfrm>
          <a:off x="5101677" y="2508024"/>
          <a:ext cx="1861516" cy="1560342"/>
        </p:xfrm>
        <a:graphic>
          <a:graphicData uri="http://schemas.openxmlformats.org/drawingml/2006/table">
            <a:tbl>
              <a:tblPr/>
              <a:tblGrid>
                <a:gridCol w="465379">
                  <a:extLst>
                    <a:ext uri="{9D8B030D-6E8A-4147-A177-3AD203B41FA5}">
                      <a16:colId xmlns:a16="http://schemas.microsoft.com/office/drawing/2014/main" val="3945809824"/>
                    </a:ext>
                  </a:extLst>
                </a:gridCol>
                <a:gridCol w="465379">
                  <a:extLst>
                    <a:ext uri="{9D8B030D-6E8A-4147-A177-3AD203B41FA5}">
                      <a16:colId xmlns:a16="http://schemas.microsoft.com/office/drawing/2014/main" val="3830534254"/>
                    </a:ext>
                  </a:extLst>
                </a:gridCol>
                <a:gridCol w="465379">
                  <a:extLst>
                    <a:ext uri="{9D8B030D-6E8A-4147-A177-3AD203B41FA5}">
                      <a16:colId xmlns:a16="http://schemas.microsoft.com/office/drawing/2014/main" val="2825551491"/>
                    </a:ext>
                  </a:extLst>
                </a:gridCol>
                <a:gridCol w="465379">
                  <a:extLst>
                    <a:ext uri="{9D8B030D-6E8A-4147-A177-3AD203B41FA5}">
                      <a16:colId xmlns:a16="http://schemas.microsoft.com/office/drawing/2014/main" val="4144158576"/>
                    </a:ext>
                  </a:extLst>
                </a:gridCol>
              </a:tblGrid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1492099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5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257772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30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111522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8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5910348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0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CL" sz="1400" b="0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81883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0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669225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653467"/>
                  </a:ext>
                </a:extLst>
              </a:tr>
            </a:tbl>
          </a:graphicData>
        </a:graphic>
      </p:graphicFrame>
      <p:graphicFrame>
        <p:nvGraphicFramePr>
          <p:cNvPr id="26" name="Tabla 25">
            <a:extLst>
              <a:ext uri="{FF2B5EF4-FFF2-40B4-BE49-F238E27FC236}">
                <a16:creationId xmlns:a16="http://schemas.microsoft.com/office/drawing/2014/main" id="{63FD3584-4AD4-4662-8F25-5BB8A10102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8782109"/>
              </p:ext>
            </p:extLst>
          </p:nvPr>
        </p:nvGraphicFramePr>
        <p:xfrm>
          <a:off x="5119981" y="4957059"/>
          <a:ext cx="1863500" cy="1563878"/>
        </p:xfrm>
        <a:graphic>
          <a:graphicData uri="http://schemas.openxmlformats.org/drawingml/2006/table">
            <a:tbl>
              <a:tblPr/>
              <a:tblGrid>
                <a:gridCol w="465875">
                  <a:extLst>
                    <a:ext uri="{9D8B030D-6E8A-4147-A177-3AD203B41FA5}">
                      <a16:colId xmlns:a16="http://schemas.microsoft.com/office/drawing/2014/main" val="2535128453"/>
                    </a:ext>
                  </a:extLst>
                </a:gridCol>
                <a:gridCol w="465875">
                  <a:extLst>
                    <a:ext uri="{9D8B030D-6E8A-4147-A177-3AD203B41FA5}">
                      <a16:colId xmlns:a16="http://schemas.microsoft.com/office/drawing/2014/main" val="2061219975"/>
                    </a:ext>
                  </a:extLst>
                </a:gridCol>
                <a:gridCol w="465875">
                  <a:extLst>
                    <a:ext uri="{9D8B030D-6E8A-4147-A177-3AD203B41FA5}">
                      <a16:colId xmlns:a16="http://schemas.microsoft.com/office/drawing/2014/main" val="2184990"/>
                    </a:ext>
                  </a:extLst>
                </a:gridCol>
                <a:gridCol w="465875">
                  <a:extLst>
                    <a:ext uri="{9D8B030D-6E8A-4147-A177-3AD203B41FA5}">
                      <a16:colId xmlns:a16="http://schemas.microsoft.com/office/drawing/2014/main" val="3928845107"/>
                    </a:ext>
                  </a:extLst>
                </a:gridCol>
              </a:tblGrid>
              <a:tr h="146284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2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679096"/>
                  </a:ext>
                </a:extLst>
              </a:tr>
              <a:tr h="146284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10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25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268539"/>
                  </a:ext>
                </a:extLst>
              </a:tr>
              <a:tr h="226568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13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12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30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7858564"/>
                  </a:ext>
                </a:extLst>
              </a:tr>
              <a:tr h="146284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13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0216606"/>
                  </a:ext>
                </a:extLst>
              </a:tr>
              <a:tr h="146284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03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2185440"/>
                  </a:ext>
                </a:extLst>
              </a:tr>
              <a:tr h="202302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2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7850873"/>
                  </a:ext>
                </a:extLst>
              </a:tr>
              <a:tr h="146284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E7E6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0866220"/>
                  </a:ext>
                </a:extLst>
              </a:tr>
            </a:tbl>
          </a:graphicData>
        </a:graphic>
      </p:graphicFrame>
      <p:sp>
        <p:nvSpPr>
          <p:cNvPr id="29" name="Title 2">
            <a:extLst>
              <a:ext uri="{FF2B5EF4-FFF2-40B4-BE49-F238E27FC236}">
                <a16:creationId xmlns:a16="http://schemas.microsoft.com/office/drawing/2014/main" id="{A520634B-7547-44A5-8BA9-0C25A19F1FD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591575" y="2097860"/>
            <a:ext cx="881719" cy="376855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US1</a:t>
            </a:r>
          </a:p>
        </p:txBody>
      </p:sp>
      <p:sp>
        <p:nvSpPr>
          <p:cNvPr id="30" name="Title 2">
            <a:extLst>
              <a:ext uri="{FF2B5EF4-FFF2-40B4-BE49-F238E27FC236}">
                <a16:creationId xmlns:a16="http://schemas.microsoft.com/office/drawing/2014/main" id="{297D9B5D-3E13-4D0C-B0AF-89FDF517DE4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5591575" y="4537859"/>
            <a:ext cx="920312" cy="376855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bg1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2400"/>
              <a:t>US2</a:t>
            </a:r>
          </a:p>
        </p:txBody>
      </p:sp>
      <p:graphicFrame>
        <p:nvGraphicFramePr>
          <p:cNvPr id="31" name="Tabla 30">
            <a:extLst>
              <a:ext uri="{FF2B5EF4-FFF2-40B4-BE49-F238E27FC236}">
                <a16:creationId xmlns:a16="http://schemas.microsoft.com/office/drawing/2014/main" id="{BEA8CE29-84F8-4326-A285-1EDB120944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416666"/>
              </p:ext>
            </p:extLst>
          </p:nvPr>
        </p:nvGraphicFramePr>
        <p:xfrm>
          <a:off x="9907329" y="2446835"/>
          <a:ext cx="2054008" cy="1783080"/>
        </p:xfrm>
        <a:graphic>
          <a:graphicData uri="http://schemas.openxmlformats.org/drawingml/2006/table">
            <a:tbl>
              <a:tblPr/>
              <a:tblGrid>
                <a:gridCol w="513502">
                  <a:extLst>
                    <a:ext uri="{9D8B030D-6E8A-4147-A177-3AD203B41FA5}">
                      <a16:colId xmlns:a16="http://schemas.microsoft.com/office/drawing/2014/main" val="2348742887"/>
                    </a:ext>
                  </a:extLst>
                </a:gridCol>
                <a:gridCol w="513502">
                  <a:extLst>
                    <a:ext uri="{9D8B030D-6E8A-4147-A177-3AD203B41FA5}">
                      <a16:colId xmlns:a16="http://schemas.microsoft.com/office/drawing/2014/main" val="3628282148"/>
                    </a:ext>
                  </a:extLst>
                </a:gridCol>
                <a:gridCol w="513502">
                  <a:extLst>
                    <a:ext uri="{9D8B030D-6E8A-4147-A177-3AD203B41FA5}">
                      <a16:colId xmlns:a16="http://schemas.microsoft.com/office/drawing/2014/main" val="3000997754"/>
                    </a:ext>
                  </a:extLst>
                </a:gridCol>
                <a:gridCol w="513502">
                  <a:extLst>
                    <a:ext uri="{9D8B030D-6E8A-4147-A177-3AD203B41FA5}">
                      <a16:colId xmlns:a16="http://schemas.microsoft.com/office/drawing/2014/main" val="2306330334"/>
                    </a:ext>
                  </a:extLst>
                </a:gridCol>
              </a:tblGrid>
              <a:tr h="209933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1709031"/>
                  </a:ext>
                </a:extLst>
              </a:tr>
              <a:tr h="209933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06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513236"/>
                  </a:ext>
                </a:extLst>
              </a:tr>
              <a:tr h="209933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31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889517"/>
                  </a:ext>
                </a:extLst>
              </a:tr>
              <a:tr h="209933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02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77910"/>
                  </a:ext>
                </a:extLst>
              </a:tr>
              <a:tr h="209933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12c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CL" sz="1400" b="0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09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681602"/>
                  </a:ext>
                </a:extLst>
              </a:tr>
              <a:tr h="209933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03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10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9026766"/>
                  </a:ext>
                </a:extLst>
              </a:tr>
              <a:tr h="209933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794860"/>
                  </a:ext>
                </a:extLst>
              </a:tr>
              <a:tr h="209933"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400" b="0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27</a:t>
                      </a:r>
                      <a:endParaRPr lang="es-CL" sz="1400" b="0" i="0" u="none" strike="noStrike" kern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400" b="0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28</a:t>
                      </a:r>
                      <a:endParaRPr lang="es-CL" sz="1400" b="0" i="0" u="none" strike="noStrike" kern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400" b="0" i="0" u="none" strike="noStrike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37</a:t>
                      </a:r>
                      <a:endParaRPr lang="es-CL" sz="1400" b="0" i="0" u="none" strike="noStrike" kern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s-CL" sz="1400" b="1" i="0" u="none" strike="noStrike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1573214"/>
                  </a:ext>
                </a:extLst>
              </a:tr>
            </a:tbl>
          </a:graphicData>
        </a:graphic>
      </p:graphicFrame>
      <p:graphicFrame>
        <p:nvGraphicFramePr>
          <p:cNvPr id="33" name="Tabla 32">
            <a:extLst>
              <a:ext uri="{FF2B5EF4-FFF2-40B4-BE49-F238E27FC236}">
                <a16:creationId xmlns:a16="http://schemas.microsoft.com/office/drawing/2014/main" id="{7F738294-B852-4D3D-B6CC-89AA02EFD91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7421111"/>
              </p:ext>
            </p:extLst>
          </p:nvPr>
        </p:nvGraphicFramePr>
        <p:xfrm>
          <a:off x="10163357" y="4986091"/>
          <a:ext cx="1541952" cy="1560195"/>
        </p:xfrm>
        <a:graphic>
          <a:graphicData uri="http://schemas.openxmlformats.org/drawingml/2006/table">
            <a:tbl>
              <a:tblPr/>
              <a:tblGrid>
                <a:gridCol w="513984">
                  <a:extLst>
                    <a:ext uri="{9D8B030D-6E8A-4147-A177-3AD203B41FA5}">
                      <a16:colId xmlns:a16="http://schemas.microsoft.com/office/drawing/2014/main" val="695563458"/>
                    </a:ext>
                  </a:extLst>
                </a:gridCol>
                <a:gridCol w="513984">
                  <a:extLst>
                    <a:ext uri="{9D8B030D-6E8A-4147-A177-3AD203B41FA5}">
                      <a16:colId xmlns:a16="http://schemas.microsoft.com/office/drawing/2014/main" val="2762705787"/>
                    </a:ext>
                  </a:extLst>
                </a:gridCol>
                <a:gridCol w="513984">
                  <a:extLst>
                    <a:ext uri="{9D8B030D-6E8A-4147-A177-3AD203B41FA5}">
                      <a16:colId xmlns:a16="http://schemas.microsoft.com/office/drawing/2014/main" val="945831799"/>
                    </a:ext>
                  </a:extLst>
                </a:gridCol>
              </a:tblGrid>
              <a:tr h="197628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1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5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8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168713"/>
                  </a:ext>
                </a:extLst>
              </a:tr>
              <a:tr h="197628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257172"/>
                  </a:ext>
                </a:extLst>
              </a:tr>
              <a:tr h="197628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1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9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4435210"/>
                  </a:ext>
                </a:extLst>
              </a:tr>
              <a:tr h="197628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2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120531"/>
                  </a:ext>
                </a:extLst>
              </a:tr>
              <a:tr h="197628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4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30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848755"/>
                  </a:ext>
                </a:extLst>
              </a:tr>
              <a:tr h="197628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275761"/>
                  </a:ext>
                </a:extLst>
              </a:tr>
              <a:tr h="197628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4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8c</a:t>
                      </a:r>
                      <a:endParaRPr lang="es-CL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8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82A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403983"/>
                  </a:ext>
                </a:extLst>
              </a:tr>
            </a:tbl>
          </a:graphicData>
        </a:graphic>
      </p:graphicFrame>
      <p:pic>
        <p:nvPicPr>
          <p:cNvPr id="35" name="Imagen 34">
            <a:extLst>
              <a:ext uri="{FF2B5EF4-FFF2-40B4-BE49-F238E27FC236}">
                <a16:creationId xmlns:a16="http://schemas.microsoft.com/office/drawing/2014/main" id="{101F3051-4618-47FD-BF12-B2C7625C924F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r="50039" b="35403"/>
          <a:stretch/>
        </p:blipFill>
        <p:spPr>
          <a:xfrm>
            <a:off x="10226823" y="1342696"/>
            <a:ext cx="1415019" cy="517493"/>
          </a:xfrm>
          <a:prstGeom prst="rect">
            <a:avLst/>
          </a:prstGeom>
        </p:spPr>
      </p:pic>
      <p:sp>
        <p:nvSpPr>
          <p:cNvPr id="36" name="Title 2">
            <a:extLst>
              <a:ext uri="{FF2B5EF4-FFF2-40B4-BE49-F238E27FC236}">
                <a16:creationId xmlns:a16="http://schemas.microsoft.com/office/drawing/2014/main" id="{BEF56376-3D10-41EE-A8FF-8370E0CAA73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10522188" y="2026438"/>
            <a:ext cx="824291" cy="376855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US4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BDE956F1-A49C-4F38-93B2-6C2C64AB3EF6}"/>
              </a:ext>
            </a:extLst>
          </p:cNvPr>
          <p:cNvSpPr/>
          <p:nvPr/>
        </p:nvSpPr>
        <p:spPr>
          <a:xfrm>
            <a:off x="10693899" y="534968"/>
            <a:ext cx="11071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L" sz="1200" b="1">
                <a:solidFill>
                  <a:schemeClr val="bg1"/>
                </a:solidFill>
                <a:latin typeface="Calibri" panose="020F0502020204030204" pitchFamily="34" charset="0"/>
              </a:rPr>
              <a:t>servicio nuevo</a:t>
            </a:r>
          </a:p>
        </p:txBody>
      </p:sp>
      <p:pic>
        <p:nvPicPr>
          <p:cNvPr id="57" name="Imagen 56">
            <a:extLst>
              <a:ext uri="{FF2B5EF4-FFF2-40B4-BE49-F238E27FC236}">
                <a16:creationId xmlns:a16="http://schemas.microsoft.com/office/drawing/2014/main" id="{41B474B6-D0C6-41A0-9024-AF38F0A54D8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989316" y="1341001"/>
            <a:ext cx="927770" cy="629271"/>
          </a:xfrm>
          <a:prstGeom prst="rect">
            <a:avLst/>
          </a:prstGeom>
        </p:spPr>
      </p:pic>
      <p:pic>
        <p:nvPicPr>
          <p:cNvPr id="58" name="Imagen 57">
            <a:extLst>
              <a:ext uri="{FF2B5EF4-FFF2-40B4-BE49-F238E27FC236}">
                <a16:creationId xmlns:a16="http://schemas.microsoft.com/office/drawing/2014/main" id="{653BC27B-201C-48E7-AF67-1D66E569B65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155722" y="1431078"/>
            <a:ext cx="1750653" cy="548853"/>
          </a:xfrm>
          <a:prstGeom prst="rect">
            <a:avLst/>
          </a:prstGeom>
        </p:spPr>
      </p:pic>
      <p:graphicFrame>
        <p:nvGraphicFramePr>
          <p:cNvPr id="59" name="Tabla 58">
            <a:extLst>
              <a:ext uri="{FF2B5EF4-FFF2-40B4-BE49-F238E27FC236}">
                <a16:creationId xmlns:a16="http://schemas.microsoft.com/office/drawing/2014/main" id="{57DA930B-A80B-4489-AE48-C646119107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7736422"/>
              </p:ext>
            </p:extLst>
          </p:nvPr>
        </p:nvGraphicFramePr>
        <p:xfrm>
          <a:off x="7522443" y="2503689"/>
          <a:ext cx="1861516" cy="1560342"/>
        </p:xfrm>
        <a:graphic>
          <a:graphicData uri="http://schemas.openxmlformats.org/drawingml/2006/table">
            <a:tbl>
              <a:tblPr/>
              <a:tblGrid>
                <a:gridCol w="465379">
                  <a:extLst>
                    <a:ext uri="{9D8B030D-6E8A-4147-A177-3AD203B41FA5}">
                      <a16:colId xmlns:a16="http://schemas.microsoft.com/office/drawing/2014/main" val="3945809824"/>
                    </a:ext>
                  </a:extLst>
                </a:gridCol>
                <a:gridCol w="465379">
                  <a:extLst>
                    <a:ext uri="{9D8B030D-6E8A-4147-A177-3AD203B41FA5}">
                      <a16:colId xmlns:a16="http://schemas.microsoft.com/office/drawing/2014/main" val="3830534254"/>
                    </a:ext>
                  </a:extLst>
                </a:gridCol>
                <a:gridCol w="465379">
                  <a:extLst>
                    <a:ext uri="{9D8B030D-6E8A-4147-A177-3AD203B41FA5}">
                      <a16:colId xmlns:a16="http://schemas.microsoft.com/office/drawing/2014/main" val="2825551491"/>
                    </a:ext>
                  </a:extLst>
                </a:gridCol>
                <a:gridCol w="465379">
                  <a:extLst>
                    <a:ext uri="{9D8B030D-6E8A-4147-A177-3AD203B41FA5}">
                      <a16:colId xmlns:a16="http://schemas.microsoft.com/office/drawing/2014/main" val="4144158576"/>
                    </a:ext>
                  </a:extLst>
                </a:gridCol>
              </a:tblGrid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01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13c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29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24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1492099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s-CL" sz="14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257772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s-CL" sz="14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111522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s-CL" sz="14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5910348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s-CL" sz="1400" b="0" i="0" u="none" strike="noStrike" kern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81883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s-CL" sz="14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669225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400" b="1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D303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s-CL" sz="14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653467"/>
                  </a:ext>
                </a:extLst>
              </a:tr>
            </a:tbl>
          </a:graphicData>
        </a:graphic>
      </p:graphicFrame>
      <p:sp>
        <p:nvSpPr>
          <p:cNvPr id="61" name="Title 2">
            <a:extLst>
              <a:ext uri="{FF2B5EF4-FFF2-40B4-BE49-F238E27FC236}">
                <a16:creationId xmlns:a16="http://schemas.microsoft.com/office/drawing/2014/main" id="{161225AE-F4A2-4411-9A02-616F978EEE5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8012342" y="2111345"/>
            <a:ext cx="881719" cy="376855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US3</a:t>
            </a:r>
          </a:p>
        </p:txBody>
      </p:sp>
      <p:graphicFrame>
        <p:nvGraphicFramePr>
          <p:cNvPr id="62" name="Tabla 61">
            <a:extLst>
              <a:ext uri="{FF2B5EF4-FFF2-40B4-BE49-F238E27FC236}">
                <a16:creationId xmlns:a16="http://schemas.microsoft.com/office/drawing/2014/main" id="{853FB35C-E731-41E8-8317-19E644AC62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2006207"/>
              </p:ext>
            </p:extLst>
          </p:nvPr>
        </p:nvGraphicFramePr>
        <p:xfrm>
          <a:off x="7458146" y="4955913"/>
          <a:ext cx="1990110" cy="1783248"/>
        </p:xfrm>
        <a:graphic>
          <a:graphicData uri="http://schemas.openxmlformats.org/drawingml/2006/table">
            <a:tbl>
              <a:tblPr/>
              <a:tblGrid>
                <a:gridCol w="500569">
                  <a:extLst>
                    <a:ext uri="{9D8B030D-6E8A-4147-A177-3AD203B41FA5}">
                      <a16:colId xmlns:a16="http://schemas.microsoft.com/office/drawing/2014/main" val="3945809824"/>
                    </a:ext>
                  </a:extLst>
                </a:gridCol>
                <a:gridCol w="500569">
                  <a:extLst>
                    <a:ext uri="{9D8B030D-6E8A-4147-A177-3AD203B41FA5}">
                      <a16:colId xmlns:a16="http://schemas.microsoft.com/office/drawing/2014/main" val="3830534254"/>
                    </a:ext>
                  </a:extLst>
                </a:gridCol>
                <a:gridCol w="480972">
                  <a:extLst>
                    <a:ext uri="{9D8B030D-6E8A-4147-A177-3AD203B41FA5}">
                      <a16:colId xmlns:a16="http://schemas.microsoft.com/office/drawing/2014/main" val="2825551491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4144158576"/>
                    </a:ext>
                  </a:extLst>
                </a:gridCol>
              </a:tblGrid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5c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1492099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5c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257772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7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6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111522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07c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03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5910348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081883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17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669225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05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01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07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L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1653467"/>
                  </a:ext>
                </a:extLst>
              </a:tr>
              <a:tr h="222906"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17</a:t>
                      </a:r>
                      <a:endParaRPr lang="es-CL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17v</a:t>
                      </a:r>
                      <a:endParaRPr lang="es-CL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18</a:t>
                      </a:r>
                      <a:endParaRPr lang="es-CL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3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20</a:t>
                      </a:r>
                      <a:endParaRPr lang="es-CL" sz="13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2F2F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2745934"/>
                  </a:ext>
                </a:extLst>
              </a:tr>
            </a:tbl>
          </a:graphicData>
        </a:graphic>
      </p:graphicFrame>
      <p:sp>
        <p:nvSpPr>
          <p:cNvPr id="64" name="Title 2">
            <a:extLst>
              <a:ext uri="{FF2B5EF4-FFF2-40B4-BE49-F238E27FC236}">
                <a16:creationId xmlns:a16="http://schemas.microsoft.com/office/drawing/2014/main" id="{98DCB461-C1E9-4723-BBB0-2CAC8FC3620B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8012342" y="4545633"/>
            <a:ext cx="881719" cy="376855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US5</a:t>
            </a:r>
          </a:p>
        </p:txBody>
      </p:sp>
      <p:sp>
        <p:nvSpPr>
          <p:cNvPr id="66" name="Title 2">
            <a:extLst>
              <a:ext uri="{FF2B5EF4-FFF2-40B4-BE49-F238E27FC236}">
                <a16:creationId xmlns:a16="http://schemas.microsoft.com/office/drawing/2014/main" id="{109BC9EA-0612-477D-8046-3EB9A5B2B1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0493474" y="4529611"/>
            <a:ext cx="881719" cy="376855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2400" b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US6</a:t>
            </a:r>
          </a:p>
        </p:txBody>
      </p:sp>
      <p:sp>
        <p:nvSpPr>
          <p:cNvPr id="40" name="Rectángulo: esquinas redondeadas 39">
            <a:extLst>
              <a:ext uri="{FF2B5EF4-FFF2-40B4-BE49-F238E27FC236}">
                <a16:creationId xmlns:a16="http://schemas.microsoft.com/office/drawing/2014/main" id="{7EE30001-3D29-936B-FA12-341C6CC38E55}"/>
              </a:ext>
            </a:extLst>
          </p:cNvPr>
          <p:cNvSpPr/>
          <p:nvPr/>
        </p:nvSpPr>
        <p:spPr>
          <a:xfrm>
            <a:off x="9731480" y="1233305"/>
            <a:ext cx="2367280" cy="5594643"/>
          </a:xfrm>
          <a:prstGeom prst="roundRect">
            <a:avLst>
              <a:gd name="adj" fmla="val 5104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7" name="Rectángulo: esquinas redondeadas 36">
            <a:extLst>
              <a:ext uri="{FF2B5EF4-FFF2-40B4-BE49-F238E27FC236}">
                <a16:creationId xmlns:a16="http://schemas.microsoft.com/office/drawing/2014/main" id="{45E80A4C-EDC7-7FDE-3CA6-A4503964FB9F}"/>
              </a:ext>
            </a:extLst>
          </p:cNvPr>
          <p:cNvSpPr/>
          <p:nvPr/>
        </p:nvSpPr>
        <p:spPr>
          <a:xfrm>
            <a:off x="7266888" y="1233305"/>
            <a:ext cx="2367280" cy="5594643"/>
          </a:xfrm>
          <a:prstGeom prst="roundRect">
            <a:avLst>
              <a:gd name="adj" fmla="val 5104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8" name="Rectángulo: esquinas redondeadas 37">
            <a:extLst>
              <a:ext uri="{FF2B5EF4-FFF2-40B4-BE49-F238E27FC236}">
                <a16:creationId xmlns:a16="http://schemas.microsoft.com/office/drawing/2014/main" id="{90CC8F54-FCF8-0B1D-8941-E6DAFEF70F5E}"/>
              </a:ext>
            </a:extLst>
          </p:cNvPr>
          <p:cNvSpPr/>
          <p:nvPr/>
        </p:nvSpPr>
        <p:spPr>
          <a:xfrm>
            <a:off x="4803979" y="1233305"/>
            <a:ext cx="2367280" cy="5594643"/>
          </a:xfrm>
          <a:prstGeom prst="roundRect">
            <a:avLst>
              <a:gd name="adj" fmla="val 5104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1" name="Rectángulo: esquinas redondeadas 40">
            <a:extLst>
              <a:ext uri="{FF2B5EF4-FFF2-40B4-BE49-F238E27FC236}">
                <a16:creationId xmlns:a16="http://schemas.microsoft.com/office/drawing/2014/main" id="{C6CA7CAB-64F6-82A0-0C3E-4E0AFF94320B}"/>
              </a:ext>
            </a:extLst>
          </p:cNvPr>
          <p:cNvSpPr/>
          <p:nvPr/>
        </p:nvSpPr>
        <p:spPr>
          <a:xfrm>
            <a:off x="251836" y="2015403"/>
            <a:ext cx="4009268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2" name="Rectángulo: esquinas redondeadas 41">
            <a:extLst>
              <a:ext uri="{FF2B5EF4-FFF2-40B4-BE49-F238E27FC236}">
                <a16:creationId xmlns:a16="http://schemas.microsoft.com/office/drawing/2014/main" id="{32DFA7EB-FF5B-21B5-1827-3A0C5C9B6C88}"/>
              </a:ext>
            </a:extLst>
          </p:cNvPr>
          <p:cNvSpPr/>
          <p:nvPr/>
        </p:nvSpPr>
        <p:spPr>
          <a:xfrm>
            <a:off x="251836" y="2384565"/>
            <a:ext cx="4009268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3" name="Rectángulo: esquinas redondeadas 42">
            <a:extLst>
              <a:ext uri="{FF2B5EF4-FFF2-40B4-BE49-F238E27FC236}">
                <a16:creationId xmlns:a16="http://schemas.microsoft.com/office/drawing/2014/main" id="{F56ECC7D-2F32-CC4A-D76C-8E2EEE8DB3B1}"/>
              </a:ext>
            </a:extLst>
          </p:cNvPr>
          <p:cNvSpPr/>
          <p:nvPr/>
        </p:nvSpPr>
        <p:spPr>
          <a:xfrm>
            <a:off x="251836" y="2753727"/>
            <a:ext cx="4009268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4" name="Rectángulo: esquinas redondeadas 43">
            <a:extLst>
              <a:ext uri="{FF2B5EF4-FFF2-40B4-BE49-F238E27FC236}">
                <a16:creationId xmlns:a16="http://schemas.microsoft.com/office/drawing/2014/main" id="{B36FFA0A-943C-5C15-F485-B5DAC7E9CCEE}"/>
              </a:ext>
            </a:extLst>
          </p:cNvPr>
          <p:cNvSpPr/>
          <p:nvPr/>
        </p:nvSpPr>
        <p:spPr>
          <a:xfrm>
            <a:off x="251836" y="3122888"/>
            <a:ext cx="4009268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45" name="Rectángulo: esquinas redondeadas 44">
            <a:extLst>
              <a:ext uri="{FF2B5EF4-FFF2-40B4-BE49-F238E27FC236}">
                <a16:creationId xmlns:a16="http://schemas.microsoft.com/office/drawing/2014/main" id="{7FD3306C-7B1C-3CE3-B67D-38E470E852E0}"/>
              </a:ext>
            </a:extLst>
          </p:cNvPr>
          <p:cNvSpPr/>
          <p:nvPr/>
        </p:nvSpPr>
        <p:spPr>
          <a:xfrm>
            <a:off x="1815753" y="2043021"/>
            <a:ext cx="1803810" cy="1967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14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sz="1100" b="1" i="1">
                <a:solidFill>
                  <a:schemeClr val="tx1">
                    <a:lumMod val="85000"/>
                    <a:lumOff val="15000"/>
                  </a:schemeClr>
                </a:solidFill>
              </a:rPr>
              <a:t>Todos los servicios</a:t>
            </a:r>
            <a:endParaRPr lang="es-CL" sz="1100" b="1" i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6" name="Rectángulo: esquinas redondeadas 45">
            <a:extLst>
              <a:ext uri="{FF2B5EF4-FFF2-40B4-BE49-F238E27FC236}">
                <a16:creationId xmlns:a16="http://schemas.microsoft.com/office/drawing/2014/main" id="{812DB37D-ECA4-954E-4672-398F250794B6}"/>
              </a:ext>
            </a:extLst>
          </p:cNvPr>
          <p:cNvSpPr/>
          <p:nvPr/>
        </p:nvSpPr>
        <p:spPr>
          <a:xfrm>
            <a:off x="1815753" y="2784624"/>
            <a:ext cx="1803809" cy="1967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144000" bIns="36000" rtlCol="0" anchor="ctr"/>
          <a:lstStyle/>
          <a:p>
            <a:r>
              <a:rPr lang="es-ES" sz="1100" b="1" i="1">
                <a:solidFill>
                  <a:schemeClr val="tx1">
                    <a:lumMod val="85000"/>
                    <a:lumOff val="15000"/>
                  </a:schemeClr>
                </a:solidFill>
              </a:rPr>
              <a:t>Todos los servicios</a:t>
            </a:r>
            <a:endParaRPr lang="es-CL" sz="1100" b="1" i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7" name="Rectángulo: esquinas redondeadas 46">
            <a:extLst>
              <a:ext uri="{FF2B5EF4-FFF2-40B4-BE49-F238E27FC236}">
                <a16:creationId xmlns:a16="http://schemas.microsoft.com/office/drawing/2014/main" id="{CD2FC453-3ADF-D21B-059A-D1F038F04891}"/>
              </a:ext>
            </a:extLst>
          </p:cNvPr>
          <p:cNvSpPr/>
          <p:nvPr/>
        </p:nvSpPr>
        <p:spPr>
          <a:xfrm>
            <a:off x="1815751" y="3158885"/>
            <a:ext cx="2712687" cy="1967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144000" bIns="36000" rtlCol="0" anchor="ctr"/>
          <a:lstStyle/>
          <a:p>
            <a:r>
              <a:rPr lang="es-ES" sz="1100" i="1">
                <a:solidFill>
                  <a:schemeClr val="tx1">
                    <a:lumMod val="85000"/>
                    <a:lumOff val="15000"/>
                  </a:schemeClr>
                </a:solidFill>
              </a:rPr>
              <a:t>Todos </a:t>
            </a:r>
            <a:r>
              <a:rPr lang="es-ES" sz="1050" i="1">
                <a:solidFill>
                  <a:schemeClr val="tx1">
                    <a:lumMod val="85000"/>
                    <a:lumOff val="15000"/>
                  </a:schemeClr>
                </a:solidFill>
              </a:rPr>
              <a:t>los servicios excepto los de Maipú</a:t>
            </a:r>
            <a:endParaRPr lang="es-CL" sz="1050" i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8" name="Rectángulo: esquinas redondeadas 47">
            <a:extLst>
              <a:ext uri="{FF2B5EF4-FFF2-40B4-BE49-F238E27FC236}">
                <a16:creationId xmlns:a16="http://schemas.microsoft.com/office/drawing/2014/main" id="{47028E70-29BB-33A1-F589-E319C5C93BA7}"/>
              </a:ext>
            </a:extLst>
          </p:cNvPr>
          <p:cNvSpPr/>
          <p:nvPr/>
        </p:nvSpPr>
        <p:spPr>
          <a:xfrm>
            <a:off x="1815752" y="2414481"/>
            <a:ext cx="2712687" cy="1967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14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sz="1100" i="1">
                <a:solidFill>
                  <a:schemeClr val="tx1">
                    <a:lumMod val="85000"/>
                    <a:lumOff val="15000"/>
                  </a:schemeClr>
                </a:solidFill>
              </a:rPr>
              <a:t>10 servicios que operan en Pudahuel</a:t>
            </a:r>
            <a:endParaRPr lang="es-CL" sz="1100" i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9FF20CE2-BF26-E4B5-048B-CBEB04730C0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18309" y="2053836"/>
            <a:ext cx="279693" cy="180000"/>
          </a:xfrm>
          <a:prstGeom prst="rect">
            <a:avLst/>
          </a:prstGeom>
        </p:spPr>
      </p:pic>
      <p:pic>
        <p:nvPicPr>
          <p:cNvPr id="50" name="Imagen 49">
            <a:extLst>
              <a:ext uri="{FF2B5EF4-FFF2-40B4-BE49-F238E27FC236}">
                <a16:creationId xmlns:a16="http://schemas.microsoft.com/office/drawing/2014/main" id="{4FCFC4A5-834F-8395-3E42-295E947BBD4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29379" y="2415463"/>
            <a:ext cx="657553" cy="180000"/>
          </a:xfrm>
          <a:prstGeom prst="rect">
            <a:avLst/>
          </a:prstGeom>
        </p:spPr>
      </p:pic>
      <p:pic>
        <p:nvPicPr>
          <p:cNvPr id="51" name="Imagen 50">
            <a:extLst>
              <a:ext uri="{FF2B5EF4-FFF2-40B4-BE49-F238E27FC236}">
                <a16:creationId xmlns:a16="http://schemas.microsoft.com/office/drawing/2014/main" id="{E9A57270-F36C-24B8-82EA-4BF1A540E2BA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r="50033" b="28586"/>
          <a:stretch/>
        </p:blipFill>
        <p:spPr>
          <a:xfrm>
            <a:off x="535528" y="2784624"/>
            <a:ext cx="445255" cy="180000"/>
          </a:xfrm>
          <a:prstGeom prst="rect">
            <a:avLst/>
          </a:prstGeom>
        </p:spPr>
      </p:pic>
      <p:pic>
        <p:nvPicPr>
          <p:cNvPr id="52" name="Imagen 51">
            <a:extLst>
              <a:ext uri="{FF2B5EF4-FFF2-40B4-BE49-F238E27FC236}">
                <a16:creationId xmlns:a16="http://schemas.microsoft.com/office/drawing/2014/main" id="{B3A0686E-7145-F0F0-12E3-3357A17EA97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5464" y="3158885"/>
            <a:ext cx="265383" cy="180000"/>
          </a:xfrm>
          <a:prstGeom prst="rect">
            <a:avLst/>
          </a:prstGeom>
        </p:spPr>
      </p:pic>
      <p:sp>
        <p:nvSpPr>
          <p:cNvPr id="54" name="Title 2">
            <a:extLst>
              <a:ext uri="{FF2B5EF4-FFF2-40B4-BE49-F238E27FC236}">
                <a16:creationId xmlns:a16="http://schemas.microsoft.com/office/drawing/2014/main" id="{D1BEF3AF-AB85-1AB4-9770-6475F57D244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199456" y="2015403"/>
            <a:ext cx="692574" cy="254854"/>
          </a:xfrm>
          <a:prstGeom prst="rect">
            <a:avLst/>
          </a:prstGeom>
          <a:solidFill>
            <a:srgbClr val="FF6600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chemeClr val="bg1"/>
                </a:solidFill>
              </a:rPr>
              <a:t>UN4</a:t>
            </a:r>
          </a:p>
        </p:txBody>
      </p:sp>
      <p:sp>
        <p:nvSpPr>
          <p:cNvPr id="56" name="Title 2">
            <a:extLst>
              <a:ext uri="{FF2B5EF4-FFF2-40B4-BE49-F238E27FC236}">
                <a16:creationId xmlns:a16="http://schemas.microsoft.com/office/drawing/2014/main" id="{F84B6F1A-B45A-8F55-C322-53B0325C379E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199456" y="2382543"/>
            <a:ext cx="692574" cy="254854"/>
          </a:xfrm>
          <a:prstGeom prst="rect">
            <a:avLst/>
          </a:prstGeom>
          <a:solidFill>
            <a:srgbClr val="3682A5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chemeClr val="bg1"/>
                </a:solidFill>
              </a:rPr>
              <a:t>UN5</a:t>
            </a:r>
          </a:p>
        </p:txBody>
      </p:sp>
      <p:sp>
        <p:nvSpPr>
          <p:cNvPr id="67" name="Title 2">
            <a:extLst>
              <a:ext uri="{FF2B5EF4-FFF2-40B4-BE49-F238E27FC236}">
                <a16:creationId xmlns:a16="http://schemas.microsoft.com/office/drawing/2014/main" id="{96DF07F1-5965-5E82-9F3E-582FA4E8CF40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199456" y="2749683"/>
            <a:ext cx="692574" cy="254854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chemeClr val="bg1"/>
                </a:solidFill>
              </a:rPr>
              <a:t>UN6</a:t>
            </a:r>
          </a:p>
        </p:txBody>
      </p:sp>
      <p:sp>
        <p:nvSpPr>
          <p:cNvPr id="68" name="Title 2">
            <a:extLst>
              <a:ext uri="{FF2B5EF4-FFF2-40B4-BE49-F238E27FC236}">
                <a16:creationId xmlns:a16="http://schemas.microsoft.com/office/drawing/2014/main" id="{CC0163FB-AE62-46A2-9AF9-00EF27DFD94E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199456" y="3116825"/>
            <a:ext cx="692574" cy="254854"/>
          </a:xfrm>
          <a:prstGeom prst="rect">
            <a:avLst/>
          </a:prstGeom>
          <a:solidFill>
            <a:srgbClr val="EFD303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 dirty="0">
                <a:solidFill>
                  <a:schemeClr val="bg1"/>
                </a:solidFill>
              </a:rPr>
              <a:t>UN7</a:t>
            </a:r>
          </a:p>
        </p:txBody>
      </p:sp>
      <p:sp>
        <p:nvSpPr>
          <p:cNvPr id="69" name="Rectángulo: esquinas redondeadas 68">
            <a:extLst>
              <a:ext uri="{FF2B5EF4-FFF2-40B4-BE49-F238E27FC236}">
                <a16:creationId xmlns:a16="http://schemas.microsoft.com/office/drawing/2014/main" id="{4FED5763-3D6E-C600-E22D-7044FB93A0D1}"/>
              </a:ext>
            </a:extLst>
          </p:cNvPr>
          <p:cNvSpPr/>
          <p:nvPr/>
        </p:nvSpPr>
        <p:spPr>
          <a:xfrm>
            <a:off x="1072631" y="1259922"/>
            <a:ext cx="2604813" cy="69583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14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ES" sz="2000" b="1">
                <a:solidFill>
                  <a:schemeClr val="tx1">
                    <a:lumMod val="85000"/>
                    <a:lumOff val="15000"/>
                  </a:schemeClr>
                </a:solidFill>
              </a:rPr>
              <a:t>Servicios licitados</a:t>
            </a:r>
            <a:endParaRPr lang="es-CL" sz="2000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A672651C-35B0-CF8D-C740-6745E57BAAD8}"/>
              </a:ext>
            </a:extLst>
          </p:cNvPr>
          <p:cNvSpPr txBox="1"/>
          <p:nvPr/>
        </p:nvSpPr>
        <p:spPr>
          <a:xfrm>
            <a:off x="597689" y="482282"/>
            <a:ext cx="102436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b="1" dirty="0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esionarios y Unidades de Servicio (US)</a:t>
            </a:r>
            <a:endParaRPr lang="es-CL" sz="4400" b="1" dirty="0">
              <a:solidFill>
                <a:srgbClr val="00AA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3" name="Title 2">
            <a:extLst>
              <a:ext uri="{FF2B5EF4-FFF2-40B4-BE49-F238E27FC236}">
                <a16:creationId xmlns:a16="http://schemas.microsoft.com/office/drawing/2014/main" id="{DC30B773-817E-8256-F489-F2FAE4218246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1199456" y="3639694"/>
            <a:ext cx="692574" cy="254854"/>
          </a:xfrm>
          <a:prstGeom prst="rect">
            <a:avLst/>
          </a:prstGeom>
          <a:solidFill>
            <a:srgbClr val="00A249"/>
          </a:solidFill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400" dirty="0">
                <a:solidFill>
                  <a:schemeClr val="bg1"/>
                </a:solidFill>
              </a:rPr>
              <a:t>Nuevo</a:t>
            </a:r>
          </a:p>
        </p:txBody>
      </p:sp>
    </p:spTree>
    <p:extLst>
      <p:ext uri="{BB962C8B-B14F-4D97-AF65-F5344CB8AC3E}">
        <p14:creationId xmlns:p14="http://schemas.microsoft.com/office/powerpoint/2010/main" val="13233706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" name="Rectángulo: esquinas redondeadas 243">
            <a:extLst>
              <a:ext uri="{FF2B5EF4-FFF2-40B4-BE49-F238E27FC236}">
                <a16:creationId xmlns:a16="http://schemas.microsoft.com/office/drawing/2014/main" id="{C018247E-F166-D159-92BD-CA638D62C657}"/>
              </a:ext>
            </a:extLst>
          </p:cNvPr>
          <p:cNvSpPr/>
          <p:nvPr/>
        </p:nvSpPr>
        <p:spPr>
          <a:xfrm>
            <a:off x="6022452" y="1214625"/>
            <a:ext cx="5520314" cy="4957576"/>
          </a:xfrm>
          <a:prstGeom prst="roundRect">
            <a:avLst>
              <a:gd name="adj" fmla="val 4218"/>
            </a:avLst>
          </a:prstGeom>
          <a:solidFill>
            <a:srgbClr val="00AAFF">
              <a:alpha val="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45" name="Title 2">
            <a:extLst>
              <a:ext uri="{FF2B5EF4-FFF2-40B4-BE49-F238E27FC236}">
                <a16:creationId xmlns:a16="http://schemas.microsoft.com/office/drawing/2014/main" id="{EF8B9BF5-97C1-EE11-7F95-08B8D4B79B7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6104111" y="1235581"/>
            <a:ext cx="2787058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FF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es-CL"/>
              <a:t>OPERADORES 2023</a:t>
            </a:r>
          </a:p>
        </p:txBody>
      </p:sp>
      <p:sp>
        <p:nvSpPr>
          <p:cNvPr id="14" name="Rectángulo: esquinas redondeadas 13">
            <a:extLst>
              <a:ext uri="{FF2B5EF4-FFF2-40B4-BE49-F238E27FC236}">
                <a16:creationId xmlns:a16="http://schemas.microsoft.com/office/drawing/2014/main" id="{17C7AF1D-829A-2139-9864-6E7261F62122}"/>
              </a:ext>
            </a:extLst>
          </p:cNvPr>
          <p:cNvSpPr/>
          <p:nvPr/>
        </p:nvSpPr>
        <p:spPr>
          <a:xfrm>
            <a:off x="251836" y="1214625"/>
            <a:ext cx="5520314" cy="2747775"/>
          </a:xfrm>
          <a:prstGeom prst="roundRect">
            <a:avLst>
              <a:gd name="adj" fmla="val 4218"/>
            </a:avLst>
          </a:prstGeom>
          <a:solidFill>
            <a:srgbClr val="00AAFF">
              <a:alpha val="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06" name="Rectángulo: esquinas redondeadas 205">
            <a:extLst>
              <a:ext uri="{FF2B5EF4-FFF2-40B4-BE49-F238E27FC236}">
                <a16:creationId xmlns:a16="http://schemas.microsoft.com/office/drawing/2014/main" id="{960CCB02-3D75-2D89-B6BD-43354C38A727}"/>
              </a:ext>
            </a:extLst>
          </p:cNvPr>
          <p:cNvSpPr/>
          <p:nvPr/>
        </p:nvSpPr>
        <p:spPr>
          <a:xfrm>
            <a:off x="6609184" y="4627177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8000">
              <a:alpha val="3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31" name="Title 2">
            <a:extLst>
              <a:ext uri="{FF2B5EF4-FFF2-40B4-BE49-F238E27FC236}">
                <a16:creationId xmlns:a16="http://schemas.microsoft.com/office/drawing/2014/main" id="{43C8E230-EA20-4B4B-C2EB-86A057FB5F9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6616937" y="4625155"/>
            <a:ext cx="1174513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600" b="0">
                <a:solidFill>
                  <a:srgbClr val="D32642"/>
                </a:solidFill>
              </a:rPr>
              <a:t>STU   (       )</a:t>
            </a:r>
          </a:p>
        </p:txBody>
      </p:sp>
      <p:sp>
        <p:nvSpPr>
          <p:cNvPr id="207" name="Rectángulo: esquinas redondeadas 206">
            <a:extLst>
              <a:ext uri="{FF2B5EF4-FFF2-40B4-BE49-F238E27FC236}">
                <a16:creationId xmlns:a16="http://schemas.microsoft.com/office/drawing/2014/main" id="{9E997A43-09C1-BCF6-AB4B-526C780BEC9B}"/>
              </a:ext>
            </a:extLst>
          </p:cNvPr>
          <p:cNvSpPr/>
          <p:nvPr/>
        </p:nvSpPr>
        <p:spPr>
          <a:xfrm>
            <a:off x="6609184" y="4996339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8000">
              <a:alpha val="3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0" name="Title 2">
            <a:extLst>
              <a:ext uri="{FF2B5EF4-FFF2-40B4-BE49-F238E27FC236}">
                <a16:creationId xmlns:a16="http://schemas.microsoft.com/office/drawing/2014/main" id="{9FE55633-EB72-1866-CC0D-7489C699B38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6616937" y="4992807"/>
            <a:ext cx="1174513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600" b="0">
                <a:solidFill>
                  <a:srgbClr val="FF0000"/>
                </a:solidFill>
              </a:rPr>
              <a:t>RBU (          )</a:t>
            </a:r>
          </a:p>
        </p:txBody>
      </p:sp>
      <p:sp>
        <p:nvSpPr>
          <p:cNvPr id="208" name="Rectángulo: esquinas redondeadas 207">
            <a:extLst>
              <a:ext uri="{FF2B5EF4-FFF2-40B4-BE49-F238E27FC236}">
                <a16:creationId xmlns:a16="http://schemas.microsoft.com/office/drawing/2014/main" id="{1E374761-FF62-022B-1FB5-9C6AB4DBFC7E}"/>
              </a:ext>
            </a:extLst>
          </p:cNvPr>
          <p:cNvSpPr/>
          <p:nvPr/>
        </p:nvSpPr>
        <p:spPr>
          <a:xfrm>
            <a:off x="6609184" y="5365501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8000">
              <a:alpha val="3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9" name="Rectángulo: esquinas redondeadas 208">
            <a:extLst>
              <a:ext uri="{FF2B5EF4-FFF2-40B4-BE49-F238E27FC236}">
                <a16:creationId xmlns:a16="http://schemas.microsoft.com/office/drawing/2014/main" id="{B60F5EAA-412B-B8B6-93D8-B25BFFA36F70}"/>
              </a:ext>
            </a:extLst>
          </p:cNvPr>
          <p:cNvSpPr/>
          <p:nvPr/>
        </p:nvSpPr>
        <p:spPr>
          <a:xfrm>
            <a:off x="6609184" y="5734662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8000">
              <a:alpha val="3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23DC1609-4051-A74C-A14D-786A0554064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0" y="0"/>
            <a:ext cx="12192000" cy="7937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8D85FEA8-40A1-6748-A2C9-F29C889DD902}"/>
              </a:ext>
            </a:extLst>
          </p:cNvPr>
          <p:cNvSpPr txBox="1"/>
          <p:nvPr/>
        </p:nvSpPr>
        <p:spPr>
          <a:xfrm>
            <a:off x="597689" y="482282"/>
            <a:ext cx="589828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b="1" dirty="0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s-CL" sz="4400" b="1" dirty="0" err="1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quema</a:t>
            </a:r>
            <a:r>
              <a:rPr lang="es-CL" sz="4400" b="1" dirty="0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Operadores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ED6087C-FC10-A34A-8B7F-8B5958F3333E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51836" y="451835"/>
            <a:ext cx="361006" cy="690066"/>
          </a:xfrm>
          <a:prstGeom prst="rect">
            <a:avLst/>
          </a:prstGeom>
        </p:spPr>
      </p:pic>
      <p:sp>
        <p:nvSpPr>
          <p:cNvPr id="151" name="Rectángulo: esquinas redondeadas 150">
            <a:extLst>
              <a:ext uri="{FF2B5EF4-FFF2-40B4-BE49-F238E27FC236}">
                <a16:creationId xmlns:a16="http://schemas.microsoft.com/office/drawing/2014/main" id="{8428BBAE-3DD9-EFC8-412B-720169FD670C}"/>
              </a:ext>
            </a:extLst>
          </p:cNvPr>
          <p:cNvSpPr/>
          <p:nvPr/>
        </p:nvSpPr>
        <p:spPr>
          <a:xfrm>
            <a:off x="782632" y="1616538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2" name="Rectángulo: esquinas redondeadas 151">
            <a:extLst>
              <a:ext uri="{FF2B5EF4-FFF2-40B4-BE49-F238E27FC236}">
                <a16:creationId xmlns:a16="http://schemas.microsoft.com/office/drawing/2014/main" id="{54FAE28C-647F-A3FD-1404-97F9CE11B54E}"/>
              </a:ext>
            </a:extLst>
          </p:cNvPr>
          <p:cNvSpPr/>
          <p:nvPr/>
        </p:nvSpPr>
        <p:spPr>
          <a:xfrm>
            <a:off x="782632" y="1985700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3" name="Rectángulo: esquinas redondeadas 152">
            <a:extLst>
              <a:ext uri="{FF2B5EF4-FFF2-40B4-BE49-F238E27FC236}">
                <a16:creationId xmlns:a16="http://schemas.microsoft.com/office/drawing/2014/main" id="{BC2C1031-EBB7-38D9-2366-59EDC4A0A694}"/>
              </a:ext>
            </a:extLst>
          </p:cNvPr>
          <p:cNvSpPr/>
          <p:nvPr/>
        </p:nvSpPr>
        <p:spPr>
          <a:xfrm>
            <a:off x="782632" y="2354862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4" name="Rectángulo: esquinas redondeadas 153">
            <a:extLst>
              <a:ext uri="{FF2B5EF4-FFF2-40B4-BE49-F238E27FC236}">
                <a16:creationId xmlns:a16="http://schemas.microsoft.com/office/drawing/2014/main" id="{43577B15-0307-EC59-E9D1-36C0A7F333E3}"/>
              </a:ext>
            </a:extLst>
          </p:cNvPr>
          <p:cNvSpPr/>
          <p:nvPr/>
        </p:nvSpPr>
        <p:spPr>
          <a:xfrm>
            <a:off x="782632" y="2724024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5" name="Rectángulo: esquinas redondeadas 154">
            <a:extLst>
              <a:ext uri="{FF2B5EF4-FFF2-40B4-BE49-F238E27FC236}">
                <a16:creationId xmlns:a16="http://schemas.microsoft.com/office/drawing/2014/main" id="{9B4AA0E8-28D7-60F4-5213-EBC760AE3458}"/>
              </a:ext>
            </a:extLst>
          </p:cNvPr>
          <p:cNvSpPr/>
          <p:nvPr/>
        </p:nvSpPr>
        <p:spPr>
          <a:xfrm>
            <a:off x="782632" y="3093186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6" name="Rectángulo: esquinas redondeadas 155">
            <a:extLst>
              <a:ext uri="{FF2B5EF4-FFF2-40B4-BE49-F238E27FC236}">
                <a16:creationId xmlns:a16="http://schemas.microsoft.com/office/drawing/2014/main" id="{8109AEAF-7B78-FA7E-F1A9-1BA662007C0F}"/>
              </a:ext>
            </a:extLst>
          </p:cNvPr>
          <p:cNvSpPr/>
          <p:nvPr/>
        </p:nvSpPr>
        <p:spPr>
          <a:xfrm>
            <a:off x="782632" y="3462347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8" name="Rectángulo: esquinas redondeadas 157">
            <a:extLst>
              <a:ext uri="{FF2B5EF4-FFF2-40B4-BE49-F238E27FC236}">
                <a16:creationId xmlns:a16="http://schemas.microsoft.com/office/drawing/2014/main" id="{62E03916-6183-5FE8-F5EE-921B4D66A81E}"/>
              </a:ext>
            </a:extLst>
          </p:cNvPr>
          <p:cNvSpPr/>
          <p:nvPr/>
        </p:nvSpPr>
        <p:spPr>
          <a:xfrm>
            <a:off x="2811813" y="2382480"/>
            <a:ext cx="1803810" cy="1967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14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sz="1100" b="1" i="1">
                <a:solidFill>
                  <a:schemeClr val="tx1">
                    <a:lumMod val="85000"/>
                    <a:lumOff val="15000"/>
                  </a:schemeClr>
                </a:solidFill>
              </a:rPr>
              <a:t>Todos los servicios</a:t>
            </a:r>
            <a:endParaRPr lang="es-CL" sz="1100" b="1" i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59" name="Rectángulo: esquinas redondeadas 158">
            <a:extLst>
              <a:ext uri="{FF2B5EF4-FFF2-40B4-BE49-F238E27FC236}">
                <a16:creationId xmlns:a16="http://schemas.microsoft.com/office/drawing/2014/main" id="{BA6EF5CF-16A6-4EF6-F3E5-3E99C3B5B921}"/>
              </a:ext>
            </a:extLst>
          </p:cNvPr>
          <p:cNvSpPr/>
          <p:nvPr/>
        </p:nvSpPr>
        <p:spPr>
          <a:xfrm>
            <a:off x="2811813" y="3124083"/>
            <a:ext cx="1803809" cy="1967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144000" bIns="36000" rtlCol="0" anchor="ctr"/>
          <a:lstStyle/>
          <a:p>
            <a:r>
              <a:rPr lang="es-ES" sz="1100" b="1" i="1">
                <a:solidFill>
                  <a:schemeClr val="tx1">
                    <a:lumMod val="85000"/>
                    <a:lumOff val="15000"/>
                  </a:schemeClr>
                </a:solidFill>
              </a:rPr>
              <a:t>Todos los servicios</a:t>
            </a:r>
            <a:endParaRPr lang="es-CL" sz="1100" b="1" i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0" name="Rectángulo: esquinas redondeadas 159">
            <a:extLst>
              <a:ext uri="{FF2B5EF4-FFF2-40B4-BE49-F238E27FC236}">
                <a16:creationId xmlns:a16="http://schemas.microsoft.com/office/drawing/2014/main" id="{CED1036E-F411-4C09-DE16-F3D4E4AA432D}"/>
              </a:ext>
            </a:extLst>
          </p:cNvPr>
          <p:cNvSpPr/>
          <p:nvPr/>
        </p:nvSpPr>
        <p:spPr>
          <a:xfrm>
            <a:off x="2811811" y="3498344"/>
            <a:ext cx="2712687" cy="1967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36000" rIns="144000" bIns="36000" rtlCol="0" anchor="ctr"/>
          <a:lstStyle/>
          <a:p>
            <a:r>
              <a:rPr lang="es-ES" sz="1100" i="1">
                <a:solidFill>
                  <a:schemeClr val="tx1">
                    <a:lumMod val="85000"/>
                    <a:lumOff val="15000"/>
                  </a:schemeClr>
                </a:solidFill>
              </a:rPr>
              <a:t>Todos </a:t>
            </a:r>
            <a:r>
              <a:rPr lang="es-ES" sz="1050" i="1">
                <a:solidFill>
                  <a:schemeClr val="tx1">
                    <a:lumMod val="85000"/>
                    <a:lumOff val="15000"/>
                  </a:schemeClr>
                </a:solidFill>
              </a:rPr>
              <a:t>los servicios excepto los de Maipú</a:t>
            </a:r>
            <a:endParaRPr lang="es-CL" sz="1050" i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1" name="Rectángulo: esquinas redondeadas 160">
            <a:extLst>
              <a:ext uri="{FF2B5EF4-FFF2-40B4-BE49-F238E27FC236}">
                <a16:creationId xmlns:a16="http://schemas.microsoft.com/office/drawing/2014/main" id="{EDA4243C-E19E-39BB-4447-F044DF942137}"/>
              </a:ext>
            </a:extLst>
          </p:cNvPr>
          <p:cNvSpPr/>
          <p:nvPr/>
        </p:nvSpPr>
        <p:spPr>
          <a:xfrm>
            <a:off x="2811812" y="2753940"/>
            <a:ext cx="2712687" cy="1967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14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sz="1100" i="1">
                <a:solidFill>
                  <a:schemeClr val="tx1">
                    <a:lumMod val="85000"/>
                    <a:lumOff val="15000"/>
                  </a:schemeClr>
                </a:solidFill>
              </a:rPr>
              <a:t>10 servicios que operan en Pudahuel</a:t>
            </a:r>
            <a:endParaRPr lang="es-CL" sz="1100" i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62" name="Imagen 161">
            <a:extLst>
              <a:ext uri="{FF2B5EF4-FFF2-40B4-BE49-F238E27FC236}">
                <a16:creationId xmlns:a16="http://schemas.microsoft.com/office/drawing/2014/main" id="{D6EDEF08-56D4-95AF-7E47-C0FFFB77CB5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926624" y="1645256"/>
            <a:ext cx="557308" cy="180000"/>
          </a:xfrm>
          <a:prstGeom prst="rect">
            <a:avLst/>
          </a:prstGeom>
        </p:spPr>
      </p:pic>
      <p:pic>
        <p:nvPicPr>
          <p:cNvPr id="163" name="Imagen 162">
            <a:extLst>
              <a:ext uri="{FF2B5EF4-FFF2-40B4-BE49-F238E27FC236}">
                <a16:creationId xmlns:a16="http://schemas.microsoft.com/office/drawing/2014/main" id="{02485040-FF19-3D48-5AAF-A04B7717FB0D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718" t="20097" r="3636"/>
          <a:stretch/>
        </p:blipFill>
        <p:spPr>
          <a:xfrm>
            <a:off x="926624" y="1996636"/>
            <a:ext cx="485776" cy="230122"/>
          </a:xfrm>
          <a:prstGeom prst="rect">
            <a:avLst/>
          </a:prstGeom>
        </p:spPr>
      </p:pic>
      <p:pic>
        <p:nvPicPr>
          <p:cNvPr id="164" name="Imagen 163">
            <a:extLst>
              <a:ext uri="{FF2B5EF4-FFF2-40B4-BE49-F238E27FC236}">
                <a16:creationId xmlns:a16="http://schemas.microsoft.com/office/drawing/2014/main" id="{F92FCA67-3976-0D6A-BACA-F782D91BE045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926624" y="2393295"/>
            <a:ext cx="279693" cy="180000"/>
          </a:xfrm>
          <a:prstGeom prst="rect">
            <a:avLst/>
          </a:prstGeom>
        </p:spPr>
      </p:pic>
      <p:pic>
        <p:nvPicPr>
          <p:cNvPr id="165" name="Imagen 164">
            <a:extLst>
              <a:ext uri="{FF2B5EF4-FFF2-40B4-BE49-F238E27FC236}">
                <a16:creationId xmlns:a16="http://schemas.microsoft.com/office/drawing/2014/main" id="{B8ACC99A-5E2A-F4F6-A828-8083FA354E81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926624" y="2754922"/>
            <a:ext cx="657553" cy="180000"/>
          </a:xfrm>
          <a:prstGeom prst="rect">
            <a:avLst/>
          </a:prstGeom>
        </p:spPr>
      </p:pic>
      <p:pic>
        <p:nvPicPr>
          <p:cNvPr id="166" name="Imagen 165">
            <a:extLst>
              <a:ext uri="{FF2B5EF4-FFF2-40B4-BE49-F238E27FC236}">
                <a16:creationId xmlns:a16="http://schemas.microsoft.com/office/drawing/2014/main" id="{B9E429C3-2A31-05CA-12D6-D80655A4F163}"/>
              </a:ext>
            </a:extLst>
          </p:cNvPr>
          <p:cNvPicPr>
            <a:picLocks noChangeAspect="1"/>
          </p:cNvPicPr>
          <p:nvPr/>
        </p:nvPicPr>
        <p:blipFill rotWithShape="1">
          <a:blip r:embed="rId32"/>
          <a:srcRect r="50033" b="28586"/>
          <a:stretch/>
        </p:blipFill>
        <p:spPr>
          <a:xfrm>
            <a:off x="926624" y="3124083"/>
            <a:ext cx="445255" cy="180000"/>
          </a:xfrm>
          <a:prstGeom prst="rect">
            <a:avLst/>
          </a:prstGeom>
        </p:spPr>
      </p:pic>
      <p:pic>
        <p:nvPicPr>
          <p:cNvPr id="167" name="Imagen 166">
            <a:extLst>
              <a:ext uri="{FF2B5EF4-FFF2-40B4-BE49-F238E27FC236}">
                <a16:creationId xmlns:a16="http://schemas.microsoft.com/office/drawing/2014/main" id="{5683E821-CA3A-5480-BAF5-F16C3929CAEB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926624" y="3498344"/>
            <a:ext cx="265383" cy="180000"/>
          </a:xfrm>
          <a:prstGeom prst="rect">
            <a:avLst/>
          </a:prstGeom>
        </p:spPr>
      </p:pic>
      <p:sp>
        <p:nvSpPr>
          <p:cNvPr id="168" name="Title 2">
            <a:extLst>
              <a:ext uri="{FF2B5EF4-FFF2-40B4-BE49-F238E27FC236}">
                <a16:creationId xmlns:a16="http://schemas.microsoft.com/office/drawing/2014/main" id="{8F79DAB9-6736-6470-5A3E-749D35DED16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952396" y="157513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800" b="1">
                <a:solidFill>
                  <a:srgbClr val="002060"/>
                </a:solidFill>
                <a:latin typeface="+mn-lt"/>
                <a:ea typeface="+mn-ea"/>
                <a:cs typeface="+mn-cs"/>
              </a:rPr>
              <a:t>UN2</a:t>
            </a:r>
          </a:p>
        </p:txBody>
      </p:sp>
      <p:sp>
        <p:nvSpPr>
          <p:cNvPr id="169" name="Title 2">
            <a:extLst>
              <a:ext uri="{FF2B5EF4-FFF2-40B4-BE49-F238E27FC236}">
                <a16:creationId xmlns:a16="http://schemas.microsoft.com/office/drawing/2014/main" id="{317FB5D7-1B45-2E86-9341-4CD9473C71F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952396" y="230941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2060"/>
                </a:solidFill>
              </a:rPr>
              <a:t>UN4</a:t>
            </a:r>
          </a:p>
        </p:txBody>
      </p:sp>
      <p:sp>
        <p:nvSpPr>
          <p:cNvPr id="170" name="Title 2">
            <a:extLst>
              <a:ext uri="{FF2B5EF4-FFF2-40B4-BE49-F238E27FC236}">
                <a16:creationId xmlns:a16="http://schemas.microsoft.com/office/drawing/2014/main" id="{B121FB3C-CA81-40FF-0CFF-13071C3726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952396" y="267655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2060"/>
                </a:solidFill>
              </a:rPr>
              <a:t>UN5</a:t>
            </a:r>
          </a:p>
        </p:txBody>
      </p:sp>
      <p:sp>
        <p:nvSpPr>
          <p:cNvPr id="171" name="Title 2">
            <a:extLst>
              <a:ext uri="{FF2B5EF4-FFF2-40B4-BE49-F238E27FC236}">
                <a16:creationId xmlns:a16="http://schemas.microsoft.com/office/drawing/2014/main" id="{2E11319F-01BC-D5FB-DF4E-B50D11938676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952396" y="304369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2060"/>
                </a:solidFill>
              </a:rPr>
              <a:t>UN6</a:t>
            </a:r>
          </a:p>
        </p:txBody>
      </p:sp>
      <p:sp>
        <p:nvSpPr>
          <p:cNvPr id="172" name="Title 2">
            <a:extLst>
              <a:ext uri="{FF2B5EF4-FFF2-40B4-BE49-F238E27FC236}">
                <a16:creationId xmlns:a16="http://schemas.microsoft.com/office/drawing/2014/main" id="{E5B7B098-9446-F8F5-A6BF-40C5A18BC3E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1952396" y="3410840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2060"/>
                </a:solidFill>
              </a:rPr>
              <a:t>UN7</a:t>
            </a:r>
          </a:p>
        </p:txBody>
      </p:sp>
      <p:sp>
        <p:nvSpPr>
          <p:cNvPr id="173" name="Title 2">
            <a:extLst>
              <a:ext uri="{FF2B5EF4-FFF2-40B4-BE49-F238E27FC236}">
                <a16:creationId xmlns:a16="http://schemas.microsoft.com/office/drawing/2014/main" id="{682B7A70-C302-6AD7-2D17-21A421DB90A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952396" y="194227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800" b="1">
                <a:solidFill>
                  <a:srgbClr val="002060"/>
                </a:solidFill>
                <a:latin typeface="+mn-lt"/>
                <a:ea typeface="+mn-ea"/>
                <a:cs typeface="+mn-cs"/>
              </a:rPr>
              <a:t>UN3</a:t>
            </a:r>
          </a:p>
        </p:txBody>
      </p:sp>
      <p:sp>
        <p:nvSpPr>
          <p:cNvPr id="178" name="Rectángulo: esquinas redondeadas 177">
            <a:extLst>
              <a:ext uri="{FF2B5EF4-FFF2-40B4-BE49-F238E27FC236}">
                <a16:creationId xmlns:a16="http://schemas.microsoft.com/office/drawing/2014/main" id="{BC3B4916-5F99-16BC-C6EE-A55C9B1E2F9E}"/>
              </a:ext>
            </a:extLst>
          </p:cNvPr>
          <p:cNvSpPr/>
          <p:nvPr/>
        </p:nvSpPr>
        <p:spPr>
          <a:xfrm>
            <a:off x="6609184" y="1616538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9" name="Rectángulo: esquinas redondeadas 178">
            <a:extLst>
              <a:ext uri="{FF2B5EF4-FFF2-40B4-BE49-F238E27FC236}">
                <a16:creationId xmlns:a16="http://schemas.microsoft.com/office/drawing/2014/main" id="{AF716132-8AB5-EE88-68EB-DCC329BA452F}"/>
              </a:ext>
            </a:extLst>
          </p:cNvPr>
          <p:cNvSpPr/>
          <p:nvPr/>
        </p:nvSpPr>
        <p:spPr>
          <a:xfrm>
            <a:off x="6609184" y="1985700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1" name="Rectángulo: esquinas redondeadas 180">
            <a:extLst>
              <a:ext uri="{FF2B5EF4-FFF2-40B4-BE49-F238E27FC236}">
                <a16:creationId xmlns:a16="http://schemas.microsoft.com/office/drawing/2014/main" id="{D3CEB887-F264-D3FE-9DCA-0C9B0563A36F}"/>
              </a:ext>
            </a:extLst>
          </p:cNvPr>
          <p:cNvSpPr/>
          <p:nvPr/>
        </p:nvSpPr>
        <p:spPr>
          <a:xfrm>
            <a:off x="6609184" y="2724024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3" name="Rectángulo: esquinas redondeadas 182">
            <a:extLst>
              <a:ext uri="{FF2B5EF4-FFF2-40B4-BE49-F238E27FC236}">
                <a16:creationId xmlns:a16="http://schemas.microsoft.com/office/drawing/2014/main" id="{7766A098-0FA3-6111-4CC1-B74F05370479}"/>
              </a:ext>
            </a:extLst>
          </p:cNvPr>
          <p:cNvSpPr/>
          <p:nvPr/>
        </p:nvSpPr>
        <p:spPr>
          <a:xfrm>
            <a:off x="6609184" y="3462347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AAFF">
              <a:alpha val="1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188" name="Imagen 187">
            <a:extLst>
              <a:ext uri="{FF2B5EF4-FFF2-40B4-BE49-F238E27FC236}">
                <a16:creationId xmlns:a16="http://schemas.microsoft.com/office/drawing/2014/main" id="{39142B9F-790B-AC0E-250D-D54DD8DFA500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753176" y="1645256"/>
            <a:ext cx="557308" cy="180000"/>
          </a:xfrm>
          <a:prstGeom prst="rect">
            <a:avLst/>
          </a:prstGeom>
        </p:spPr>
      </p:pic>
      <p:pic>
        <p:nvPicPr>
          <p:cNvPr id="189" name="Imagen 188">
            <a:extLst>
              <a:ext uri="{FF2B5EF4-FFF2-40B4-BE49-F238E27FC236}">
                <a16:creationId xmlns:a16="http://schemas.microsoft.com/office/drawing/2014/main" id="{5AA17474-E875-8B60-FE93-92AC355E9081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718" t="20097" r="3636"/>
          <a:stretch/>
        </p:blipFill>
        <p:spPr>
          <a:xfrm>
            <a:off x="6753176" y="1996636"/>
            <a:ext cx="485776" cy="230122"/>
          </a:xfrm>
          <a:prstGeom prst="rect">
            <a:avLst/>
          </a:prstGeom>
        </p:spPr>
      </p:pic>
      <p:pic>
        <p:nvPicPr>
          <p:cNvPr id="190" name="Imagen 189">
            <a:extLst>
              <a:ext uri="{FF2B5EF4-FFF2-40B4-BE49-F238E27FC236}">
                <a16:creationId xmlns:a16="http://schemas.microsoft.com/office/drawing/2014/main" id="{CEBE4DB2-19EE-48F3-28E3-B0FE0BBB8799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753176" y="2393295"/>
            <a:ext cx="279693" cy="180000"/>
          </a:xfrm>
          <a:prstGeom prst="rect">
            <a:avLst/>
          </a:prstGeom>
        </p:spPr>
      </p:pic>
      <p:pic>
        <p:nvPicPr>
          <p:cNvPr id="191" name="Imagen 190">
            <a:extLst>
              <a:ext uri="{FF2B5EF4-FFF2-40B4-BE49-F238E27FC236}">
                <a16:creationId xmlns:a16="http://schemas.microsoft.com/office/drawing/2014/main" id="{28B528CC-FCC7-4AEF-2AF0-CCA05826EA77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6753176" y="2754922"/>
            <a:ext cx="657553" cy="180000"/>
          </a:xfrm>
          <a:prstGeom prst="rect">
            <a:avLst/>
          </a:prstGeom>
        </p:spPr>
      </p:pic>
      <p:pic>
        <p:nvPicPr>
          <p:cNvPr id="192" name="Imagen 191">
            <a:extLst>
              <a:ext uri="{FF2B5EF4-FFF2-40B4-BE49-F238E27FC236}">
                <a16:creationId xmlns:a16="http://schemas.microsoft.com/office/drawing/2014/main" id="{3EAF7AE7-54AE-68CA-D467-EEEF3D41DE17}"/>
              </a:ext>
            </a:extLst>
          </p:cNvPr>
          <p:cNvPicPr>
            <a:picLocks noChangeAspect="1"/>
          </p:cNvPicPr>
          <p:nvPr/>
        </p:nvPicPr>
        <p:blipFill rotWithShape="1">
          <a:blip r:embed="rId32"/>
          <a:srcRect r="50033" b="28586"/>
          <a:stretch/>
        </p:blipFill>
        <p:spPr>
          <a:xfrm>
            <a:off x="7178136" y="5036253"/>
            <a:ext cx="445255" cy="180000"/>
          </a:xfrm>
          <a:prstGeom prst="rect">
            <a:avLst/>
          </a:prstGeom>
        </p:spPr>
      </p:pic>
      <p:pic>
        <p:nvPicPr>
          <p:cNvPr id="193" name="Imagen 192">
            <a:extLst>
              <a:ext uri="{FF2B5EF4-FFF2-40B4-BE49-F238E27FC236}">
                <a16:creationId xmlns:a16="http://schemas.microsoft.com/office/drawing/2014/main" id="{0AB8104A-17F5-FA36-C2F7-44A5B2D2CC21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6753176" y="3498344"/>
            <a:ext cx="265383" cy="180000"/>
          </a:xfrm>
          <a:prstGeom prst="rect">
            <a:avLst/>
          </a:prstGeom>
        </p:spPr>
      </p:pic>
      <p:sp>
        <p:nvSpPr>
          <p:cNvPr id="194" name="Title 2">
            <a:extLst>
              <a:ext uri="{FF2B5EF4-FFF2-40B4-BE49-F238E27FC236}">
                <a16:creationId xmlns:a16="http://schemas.microsoft.com/office/drawing/2014/main" id="{73F2DC07-E073-F5BA-8557-913FADEEAB7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7673669" y="157513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800" b="1">
                <a:solidFill>
                  <a:srgbClr val="002060"/>
                </a:solidFill>
                <a:latin typeface="+mn-lt"/>
                <a:ea typeface="+mn-ea"/>
                <a:cs typeface="+mn-cs"/>
              </a:rPr>
              <a:t>UN2</a:t>
            </a:r>
          </a:p>
        </p:txBody>
      </p:sp>
      <p:sp>
        <p:nvSpPr>
          <p:cNvPr id="195" name="Title 2">
            <a:extLst>
              <a:ext uri="{FF2B5EF4-FFF2-40B4-BE49-F238E27FC236}">
                <a16:creationId xmlns:a16="http://schemas.microsoft.com/office/drawing/2014/main" id="{B321EF48-92E4-C139-EBB0-99C8EBA24A80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7673669" y="230941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FF0000"/>
                </a:solidFill>
              </a:rPr>
              <a:t>UN4</a:t>
            </a:r>
          </a:p>
        </p:txBody>
      </p:sp>
      <p:sp>
        <p:nvSpPr>
          <p:cNvPr id="196" name="Title 2">
            <a:extLst>
              <a:ext uri="{FF2B5EF4-FFF2-40B4-BE49-F238E27FC236}">
                <a16:creationId xmlns:a16="http://schemas.microsoft.com/office/drawing/2014/main" id="{EF344232-AD89-B888-1ABB-7334072898E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7673669" y="267655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2060"/>
                </a:solidFill>
              </a:rPr>
              <a:t>UN5</a:t>
            </a:r>
          </a:p>
        </p:txBody>
      </p:sp>
      <p:sp>
        <p:nvSpPr>
          <p:cNvPr id="198" name="Title 2">
            <a:extLst>
              <a:ext uri="{FF2B5EF4-FFF2-40B4-BE49-F238E27FC236}">
                <a16:creationId xmlns:a16="http://schemas.microsoft.com/office/drawing/2014/main" id="{44503A80-0F2A-7C3C-5472-0AE6F0A45820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7673669" y="3410840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2060"/>
                </a:solidFill>
              </a:rPr>
              <a:t>UN7</a:t>
            </a:r>
          </a:p>
        </p:txBody>
      </p:sp>
      <p:sp>
        <p:nvSpPr>
          <p:cNvPr id="199" name="Title 2">
            <a:extLst>
              <a:ext uri="{FF2B5EF4-FFF2-40B4-BE49-F238E27FC236}">
                <a16:creationId xmlns:a16="http://schemas.microsoft.com/office/drawing/2014/main" id="{92B538A2-B6A6-7AF7-EABE-798B9453D6A9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7673669" y="194227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800" b="1">
                <a:solidFill>
                  <a:srgbClr val="002060"/>
                </a:solidFill>
                <a:latin typeface="+mn-lt"/>
                <a:ea typeface="+mn-ea"/>
                <a:cs typeface="+mn-cs"/>
              </a:rPr>
              <a:t>UN3</a:t>
            </a:r>
          </a:p>
        </p:txBody>
      </p:sp>
      <p:sp>
        <p:nvSpPr>
          <p:cNvPr id="204" name="Rectángulo: esquinas redondeadas 203">
            <a:extLst>
              <a:ext uri="{FF2B5EF4-FFF2-40B4-BE49-F238E27FC236}">
                <a16:creationId xmlns:a16="http://schemas.microsoft.com/office/drawing/2014/main" id="{F74E82E3-1F29-38B4-FE99-F82EC67D5C68}"/>
              </a:ext>
            </a:extLst>
          </p:cNvPr>
          <p:cNvSpPr/>
          <p:nvPr/>
        </p:nvSpPr>
        <p:spPr>
          <a:xfrm>
            <a:off x="6609184" y="3888853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8000">
              <a:alpha val="3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5" name="Rectángulo: esquinas redondeadas 204">
            <a:extLst>
              <a:ext uri="{FF2B5EF4-FFF2-40B4-BE49-F238E27FC236}">
                <a16:creationId xmlns:a16="http://schemas.microsoft.com/office/drawing/2014/main" id="{7D8F5BC0-8A4C-353E-AE25-E8BFE1E3DA69}"/>
              </a:ext>
            </a:extLst>
          </p:cNvPr>
          <p:cNvSpPr/>
          <p:nvPr/>
        </p:nvSpPr>
        <p:spPr>
          <a:xfrm>
            <a:off x="6609184" y="4258015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008000">
              <a:alpha val="3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marR="0" indent="-171450" algn="l" defTabSz="68573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endParaRPr kumimoji="0" lang="es-CL" sz="900" b="0" i="0" u="none" strike="noStrike" kern="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212" name="Picture 8" descr="GRUPO METROPOL Logo">
            <a:extLst>
              <a:ext uri="{FF2B5EF4-FFF2-40B4-BE49-F238E27FC236}">
                <a16:creationId xmlns:a16="http://schemas.microsoft.com/office/drawing/2014/main" id="{2A26E4E6-7965-5659-F9AD-366FA148D0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71" t="15253" b="20003"/>
          <a:stretch/>
        </p:blipFill>
        <p:spPr bwMode="auto">
          <a:xfrm>
            <a:off x="6685951" y="3868545"/>
            <a:ext cx="792001" cy="25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3" name="Imagen 212">
            <a:extLst>
              <a:ext uri="{FF2B5EF4-FFF2-40B4-BE49-F238E27FC236}">
                <a16:creationId xmlns:a16="http://schemas.microsoft.com/office/drawing/2014/main" id="{46EAB7AF-1C26-DA8E-D858-A29318CAC0F8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7227558" y="4643937"/>
            <a:ext cx="327358" cy="222034"/>
          </a:xfrm>
          <a:prstGeom prst="rect">
            <a:avLst/>
          </a:prstGeom>
        </p:spPr>
      </p:pic>
      <p:pic>
        <p:nvPicPr>
          <p:cNvPr id="215" name="Picture 8" descr="GRUPO METROPOL Logo">
            <a:extLst>
              <a:ext uri="{FF2B5EF4-FFF2-40B4-BE49-F238E27FC236}">
                <a16:creationId xmlns:a16="http://schemas.microsoft.com/office/drawing/2014/main" id="{BFC06225-1D93-3B42-A643-7919703639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71" t="15253" b="20003"/>
          <a:stretch/>
        </p:blipFill>
        <p:spPr bwMode="auto">
          <a:xfrm>
            <a:off x="6685951" y="4252811"/>
            <a:ext cx="792001" cy="25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Title 2">
            <a:extLst>
              <a:ext uri="{FF2B5EF4-FFF2-40B4-BE49-F238E27FC236}">
                <a16:creationId xmlns:a16="http://schemas.microsoft.com/office/drawing/2014/main" id="{320B2A51-E65A-71E9-2B4B-54E1262C9722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7673669" y="3849099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800" b="1">
                <a:solidFill>
                  <a:srgbClr val="006C31"/>
                </a:solidFill>
                <a:latin typeface="+mn-lt"/>
                <a:ea typeface="+mn-ea"/>
                <a:cs typeface="+mn-cs"/>
              </a:rPr>
              <a:t>US1</a:t>
            </a:r>
          </a:p>
        </p:txBody>
      </p:sp>
      <p:sp>
        <p:nvSpPr>
          <p:cNvPr id="217" name="Title 2">
            <a:extLst>
              <a:ext uri="{FF2B5EF4-FFF2-40B4-BE49-F238E27FC236}">
                <a16:creationId xmlns:a16="http://schemas.microsoft.com/office/drawing/2014/main" id="{C062CDE0-7452-1800-7EE7-42BB39B0A5FA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7673669" y="4583379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6C31"/>
                </a:solidFill>
              </a:rPr>
              <a:t>US3</a:t>
            </a:r>
          </a:p>
        </p:txBody>
      </p:sp>
      <p:sp>
        <p:nvSpPr>
          <p:cNvPr id="218" name="Title 2">
            <a:extLst>
              <a:ext uri="{FF2B5EF4-FFF2-40B4-BE49-F238E27FC236}">
                <a16:creationId xmlns:a16="http://schemas.microsoft.com/office/drawing/2014/main" id="{618E6D6E-5695-F7DE-9274-EB879DE50978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7673669" y="4950519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6C31"/>
                </a:solidFill>
              </a:rPr>
              <a:t>US4</a:t>
            </a:r>
          </a:p>
        </p:txBody>
      </p:sp>
      <p:sp>
        <p:nvSpPr>
          <p:cNvPr id="219" name="Title 2">
            <a:extLst>
              <a:ext uri="{FF2B5EF4-FFF2-40B4-BE49-F238E27FC236}">
                <a16:creationId xmlns:a16="http://schemas.microsoft.com/office/drawing/2014/main" id="{2D123113-C818-6279-7014-3BD6DD2F798F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7673669" y="5317659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6C31"/>
                </a:solidFill>
              </a:rPr>
              <a:t>US5</a:t>
            </a:r>
          </a:p>
        </p:txBody>
      </p:sp>
      <p:sp>
        <p:nvSpPr>
          <p:cNvPr id="220" name="Title 2">
            <a:extLst>
              <a:ext uri="{FF2B5EF4-FFF2-40B4-BE49-F238E27FC236}">
                <a16:creationId xmlns:a16="http://schemas.microsoft.com/office/drawing/2014/main" id="{75F6F529-32A3-A057-3301-F52536ADF37F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7673669" y="5684801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006C31"/>
                </a:solidFill>
              </a:rPr>
              <a:t>US6</a:t>
            </a:r>
          </a:p>
        </p:txBody>
      </p:sp>
      <p:sp>
        <p:nvSpPr>
          <p:cNvPr id="221" name="Title 2">
            <a:extLst>
              <a:ext uri="{FF2B5EF4-FFF2-40B4-BE49-F238E27FC236}">
                <a16:creationId xmlns:a16="http://schemas.microsoft.com/office/drawing/2014/main" id="{253BDF5B-1033-D16E-9B49-F1F1AF594E0E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7673669" y="4216239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lvl1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 kern="1200">
                <a:solidFill>
                  <a:schemeClr val="tx1"/>
                </a:solidFill>
                <a:latin typeface="+mj-lt"/>
                <a:ea typeface="MS PGothic" pitchFamily="34" charset="-128"/>
                <a:cs typeface="ＭＳ Ｐゴシック" charset="0"/>
              </a:defRPr>
            </a:lvl1pPr>
            <a:lvl2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rtl="0" eaLnBrk="0" fontAlgn="base" hangingPunct="0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rtl="0" fontAlgn="base">
              <a:spcBef>
                <a:spcPct val="0"/>
              </a:spcBef>
              <a:spcAft>
                <a:spcPct val="0"/>
              </a:spcAft>
              <a:defRPr sz="441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800" b="1">
                <a:solidFill>
                  <a:srgbClr val="006C31"/>
                </a:solidFill>
                <a:latin typeface="+mn-lt"/>
                <a:ea typeface="+mn-ea"/>
                <a:cs typeface="+mn-cs"/>
              </a:rPr>
              <a:t>US2</a:t>
            </a:r>
          </a:p>
        </p:txBody>
      </p:sp>
      <p:sp>
        <p:nvSpPr>
          <p:cNvPr id="222" name="Rectángulo 221">
            <a:extLst>
              <a:ext uri="{FF2B5EF4-FFF2-40B4-BE49-F238E27FC236}">
                <a16:creationId xmlns:a16="http://schemas.microsoft.com/office/drawing/2014/main" id="{E5C99752-FDDE-C4B3-1A1E-A77D5EC1CA0E}"/>
              </a:ext>
            </a:extLst>
          </p:cNvPr>
          <p:cNvSpPr/>
          <p:nvPr/>
        </p:nvSpPr>
        <p:spPr>
          <a:xfrm>
            <a:off x="8413281" y="1602388"/>
            <a:ext cx="3211144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</a:t>
            </a:r>
            <a:r>
              <a:rPr lang="es-CL" sz="1200" i="1" err="1"/>
              <a:t>ervicios</a:t>
            </a:r>
            <a:r>
              <a:rPr lang="es-CL" sz="1200" i="1"/>
              <a:t> actuales</a:t>
            </a:r>
          </a:p>
        </p:txBody>
      </p:sp>
      <p:sp>
        <p:nvSpPr>
          <p:cNvPr id="224" name="Rectángulo 223">
            <a:extLst>
              <a:ext uri="{FF2B5EF4-FFF2-40B4-BE49-F238E27FC236}">
                <a16:creationId xmlns:a16="http://schemas.microsoft.com/office/drawing/2014/main" id="{2C666550-0DEA-2CA6-8C93-6F98DF628DBC}"/>
              </a:ext>
            </a:extLst>
          </p:cNvPr>
          <p:cNvSpPr/>
          <p:nvPr/>
        </p:nvSpPr>
        <p:spPr>
          <a:xfrm>
            <a:off x="8427308" y="1983636"/>
            <a:ext cx="2952000" cy="2520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ervicios actuales</a:t>
            </a:r>
            <a:endParaRPr lang="es-CL" sz="1200" i="1"/>
          </a:p>
        </p:txBody>
      </p:sp>
      <p:sp>
        <p:nvSpPr>
          <p:cNvPr id="225" name="Rectángulo 224">
            <a:extLst>
              <a:ext uri="{FF2B5EF4-FFF2-40B4-BE49-F238E27FC236}">
                <a16:creationId xmlns:a16="http://schemas.microsoft.com/office/drawing/2014/main" id="{FE3C67FE-2FBD-9DB6-10E9-867910E0E6BA}"/>
              </a:ext>
            </a:extLst>
          </p:cNvPr>
          <p:cNvSpPr/>
          <p:nvPr/>
        </p:nvSpPr>
        <p:spPr>
          <a:xfrm>
            <a:off x="8426154" y="2721862"/>
            <a:ext cx="2952000" cy="2520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ervicios actuales menos 10 de licitación</a:t>
            </a:r>
            <a:endParaRPr lang="es-CL" sz="1200" i="1"/>
          </a:p>
        </p:txBody>
      </p:sp>
      <p:sp>
        <p:nvSpPr>
          <p:cNvPr id="226" name="Rectángulo 225">
            <a:extLst>
              <a:ext uri="{FF2B5EF4-FFF2-40B4-BE49-F238E27FC236}">
                <a16:creationId xmlns:a16="http://schemas.microsoft.com/office/drawing/2014/main" id="{AEC74F3D-BE87-C710-DE89-BC36C191C98E}"/>
              </a:ext>
            </a:extLst>
          </p:cNvPr>
          <p:cNvSpPr/>
          <p:nvPr/>
        </p:nvSpPr>
        <p:spPr>
          <a:xfrm>
            <a:off x="8445432" y="3457711"/>
            <a:ext cx="2952000" cy="25200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ervicios de terminal Maipú</a:t>
            </a:r>
            <a:endParaRPr lang="es-CL" sz="1200" i="1"/>
          </a:p>
        </p:txBody>
      </p:sp>
      <p:sp>
        <p:nvSpPr>
          <p:cNvPr id="229" name="Title 2">
            <a:extLst>
              <a:ext uri="{FF2B5EF4-FFF2-40B4-BE49-F238E27FC236}">
                <a16:creationId xmlns:a16="http://schemas.microsoft.com/office/drawing/2014/main" id="{00D12B94-5349-3971-FB3B-4DECE4AAC179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6616937" y="5734662"/>
            <a:ext cx="1226901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600" b="0">
                <a:solidFill>
                  <a:srgbClr val="FF0000"/>
                </a:solidFill>
              </a:rPr>
              <a:t>RBU (          )</a:t>
            </a:r>
          </a:p>
        </p:txBody>
      </p:sp>
      <p:pic>
        <p:nvPicPr>
          <p:cNvPr id="230" name="Imagen 229">
            <a:extLst>
              <a:ext uri="{FF2B5EF4-FFF2-40B4-BE49-F238E27FC236}">
                <a16:creationId xmlns:a16="http://schemas.microsoft.com/office/drawing/2014/main" id="{1B354511-34C0-CE9E-1E81-AEE55C9D2241}"/>
              </a:ext>
            </a:extLst>
          </p:cNvPr>
          <p:cNvPicPr>
            <a:picLocks noChangeAspect="1"/>
          </p:cNvPicPr>
          <p:nvPr/>
        </p:nvPicPr>
        <p:blipFill rotWithShape="1">
          <a:blip r:embed="rId32"/>
          <a:srcRect r="50033" b="28586"/>
          <a:stretch/>
        </p:blipFill>
        <p:spPr>
          <a:xfrm>
            <a:off x="7178136" y="5778108"/>
            <a:ext cx="445255" cy="180000"/>
          </a:xfrm>
          <a:prstGeom prst="rect">
            <a:avLst/>
          </a:prstGeom>
        </p:spPr>
      </p:pic>
      <p:sp>
        <p:nvSpPr>
          <p:cNvPr id="234" name="Title 2">
            <a:extLst>
              <a:ext uri="{FF2B5EF4-FFF2-40B4-BE49-F238E27FC236}">
                <a16:creationId xmlns:a16="http://schemas.microsoft.com/office/drawing/2014/main" id="{775EC230-58D6-D767-769F-A6CCA89CE12D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6616937" y="5370419"/>
            <a:ext cx="1174513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s-CL" sz="1600" b="0">
                <a:solidFill>
                  <a:srgbClr val="D32642"/>
                </a:solidFill>
              </a:rPr>
              <a:t>STU   (       )</a:t>
            </a:r>
          </a:p>
        </p:txBody>
      </p:sp>
      <p:pic>
        <p:nvPicPr>
          <p:cNvPr id="235" name="Imagen 234">
            <a:extLst>
              <a:ext uri="{FF2B5EF4-FFF2-40B4-BE49-F238E27FC236}">
                <a16:creationId xmlns:a16="http://schemas.microsoft.com/office/drawing/2014/main" id="{34263AAB-F07D-31BB-3E1D-EC1CE91853E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7227558" y="5389201"/>
            <a:ext cx="327358" cy="222034"/>
          </a:xfrm>
          <a:prstGeom prst="rect">
            <a:avLst/>
          </a:prstGeom>
        </p:spPr>
      </p:pic>
      <p:sp>
        <p:nvSpPr>
          <p:cNvPr id="236" name="Rectángulo 235">
            <a:extLst>
              <a:ext uri="{FF2B5EF4-FFF2-40B4-BE49-F238E27FC236}">
                <a16:creationId xmlns:a16="http://schemas.microsoft.com/office/drawing/2014/main" id="{C70DE57B-388C-9EF8-BFA1-3DE8D95599A9}"/>
              </a:ext>
            </a:extLst>
          </p:cNvPr>
          <p:cNvSpPr/>
          <p:nvPr/>
        </p:nvSpPr>
        <p:spPr>
          <a:xfrm>
            <a:off x="8413281" y="3878385"/>
            <a:ext cx="2952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ervicios de actual Redbus (UN6)</a:t>
            </a:r>
            <a:endParaRPr lang="es-CL" sz="1200" i="1"/>
          </a:p>
        </p:txBody>
      </p:sp>
      <p:sp>
        <p:nvSpPr>
          <p:cNvPr id="237" name="Rectángulo 236">
            <a:extLst>
              <a:ext uri="{FF2B5EF4-FFF2-40B4-BE49-F238E27FC236}">
                <a16:creationId xmlns:a16="http://schemas.microsoft.com/office/drawing/2014/main" id="{ED0AF9CE-D760-92AE-2275-FFE61B897C9E}"/>
              </a:ext>
            </a:extLst>
          </p:cNvPr>
          <p:cNvSpPr/>
          <p:nvPr/>
        </p:nvSpPr>
        <p:spPr>
          <a:xfrm>
            <a:off x="8413281" y="4983679"/>
            <a:ext cx="2952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ervicios de actual Redbus (UN6)</a:t>
            </a:r>
            <a:endParaRPr lang="es-CL" sz="1200" i="1"/>
          </a:p>
        </p:txBody>
      </p:sp>
      <p:sp>
        <p:nvSpPr>
          <p:cNvPr id="238" name="Rectángulo 237">
            <a:extLst>
              <a:ext uri="{FF2B5EF4-FFF2-40B4-BE49-F238E27FC236}">
                <a16:creationId xmlns:a16="http://schemas.microsoft.com/office/drawing/2014/main" id="{9547DC43-1EA6-1926-ACD1-61B3C05EB3C7}"/>
              </a:ext>
            </a:extLst>
          </p:cNvPr>
          <p:cNvSpPr/>
          <p:nvPr/>
        </p:nvSpPr>
        <p:spPr>
          <a:xfrm>
            <a:off x="8413281" y="4240308"/>
            <a:ext cx="2952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ervicios de actual STP (UN7)</a:t>
            </a:r>
            <a:endParaRPr lang="es-CL" sz="1200" i="1"/>
          </a:p>
        </p:txBody>
      </p:sp>
      <p:sp>
        <p:nvSpPr>
          <p:cNvPr id="239" name="Rectángulo 238">
            <a:extLst>
              <a:ext uri="{FF2B5EF4-FFF2-40B4-BE49-F238E27FC236}">
                <a16:creationId xmlns:a16="http://schemas.microsoft.com/office/drawing/2014/main" id="{7F8C132D-267A-83FC-BA69-3BA89E19B57A}"/>
              </a:ext>
            </a:extLst>
          </p:cNvPr>
          <p:cNvSpPr/>
          <p:nvPr/>
        </p:nvSpPr>
        <p:spPr>
          <a:xfrm>
            <a:off x="8413281" y="4616514"/>
            <a:ext cx="2952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ervicios de actual STP (UN7)</a:t>
            </a:r>
            <a:endParaRPr lang="es-CL" sz="1200" i="1"/>
          </a:p>
        </p:txBody>
      </p:sp>
      <p:sp>
        <p:nvSpPr>
          <p:cNvPr id="240" name="Rectángulo 239">
            <a:extLst>
              <a:ext uri="{FF2B5EF4-FFF2-40B4-BE49-F238E27FC236}">
                <a16:creationId xmlns:a16="http://schemas.microsoft.com/office/drawing/2014/main" id="{476513F6-6699-45A9-BF17-F64019490A52}"/>
              </a:ext>
            </a:extLst>
          </p:cNvPr>
          <p:cNvSpPr/>
          <p:nvPr/>
        </p:nvSpPr>
        <p:spPr>
          <a:xfrm>
            <a:off x="8413281" y="5352030"/>
            <a:ext cx="2952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ervicios de actual Express (UN4)</a:t>
            </a:r>
            <a:endParaRPr lang="es-CL" sz="1200" i="1"/>
          </a:p>
        </p:txBody>
      </p:sp>
      <p:sp>
        <p:nvSpPr>
          <p:cNvPr id="241" name="Rectángulo 240">
            <a:extLst>
              <a:ext uri="{FF2B5EF4-FFF2-40B4-BE49-F238E27FC236}">
                <a16:creationId xmlns:a16="http://schemas.microsoft.com/office/drawing/2014/main" id="{AA5FBA6A-2B64-9CC9-1C79-F8BCB4D91686}"/>
              </a:ext>
            </a:extLst>
          </p:cNvPr>
          <p:cNvSpPr/>
          <p:nvPr/>
        </p:nvSpPr>
        <p:spPr>
          <a:xfrm>
            <a:off x="8413281" y="5723952"/>
            <a:ext cx="2952000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s-ES" sz="1200" i="1"/>
              <a:t>Servicios de actual Express (UN4)</a:t>
            </a:r>
            <a:endParaRPr lang="es-CL" sz="1200" i="1"/>
          </a:p>
        </p:txBody>
      </p:sp>
      <p:sp>
        <p:nvSpPr>
          <p:cNvPr id="246" name="Title 2">
            <a:extLst>
              <a:ext uri="{FF2B5EF4-FFF2-40B4-BE49-F238E27FC236}">
                <a16:creationId xmlns:a16="http://schemas.microsoft.com/office/drawing/2014/main" id="{B469A21A-C36B-F2DA-BF9C-2915263A4E30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353037" y="1235581"/>
            <a:ext cx="2787058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FF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/>
            <a:r>
              <a:rPr lang="es-CL"/>
              <a:t>OPERADORES 2022</a:t>
            </a:r>
          </a:p>
        </p:txBody>
      </p:sp>
      <p:sp>
        <p:nvSpPr>
          <p:cNvPr id="248" name="Rectángulo: esquinas redondeadas 247">
            <a:extLst>
              <a:ext uri="{FF2B5EF4-FFF2-40B4-BE49-F238E27FC236}">
                <a16:creationId xmlns:a16="http://schemas.microsoft.com/office/drawing/2014/main" id="{4FDABD72-BC2E-70F7-2D96-795F20E1543A}"/>
              </a:ext>
            </a:extLst>
          </p:cNvPr>
          <p:cNvSpPr/>
          <p:nvPr/>
        </p:nvSpPr>
        <p:spPr>
          <a:xfrm>
            <a:off x="3302675" y="1409302"/>
            <a:ext cx="1803810" cy="19675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6000" rIns="144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sz="1100" b="1" i="1">
                <a:solidFill>
                  <a:schemeClr val="tx1">
                    <a:lumMod val="85000"/>
                    <a:lumOff val="15000"/>
                  </a:schemeClr>
                </a:solidFill>
              </a:rPr>
              <a:t>Servicios que se licitan</a:t>
            </a:r>
            <a:endParaRPr lang="es-CL" sz="1100" b="1" i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82" name="Imagen 81">
            <a:extLst>
              <a:ext uri="{FF2B5EF4-FFF2-40B4-BE49-F238E27FC236}">
                <a16:creationId xmlns:a16="http://schemas.microsoft.com/office/drawing/2014/main" id="{BD0E081A-8B77-D69D-485E-EAFAF44C769A}"/>
              </a:ext>
            </a:extLst>
          </p:cNvPr>
          <p:cNvPicPr>
            <a:picLocks noChangeAspect="1"/>
          </p:cNvPicPr>
          <p:nvPr/>
        </p:nvPicPr>
        <p:blipFill rotWithShape="1">
          <a:blip r:embed="rId32"/>
          <a:srcRect r="50033" b="28586"/>
          <a:stretch/>
        </p:blipFill>
        <p:spPr>
          <a:xfrm>
            <a:off x="6753176" y="3124083"/>
            <a:ext cx="445255" cy="180000"/>
          </a:xfrm>
          <a:prstGeom prst="rect">
            <a:avLst/>
          </a:prstGeom>
        </p:spPr>
      </p:pic>
      <p:sp>
        <p:nvSpPr>
          <p:cNvPr id="83" name="Title 2">
            <a:extLst>
              <a:ext uri="{FF2B5EF4-FFF2-40B4-BE49-F238E27FC236}">
                <a16:creationId xmlns:a16="http://schemas.microsoft.com/office/drawing/2014/main" id="{F314A240-A5F9-96A0-4E19-4A265AB85E9C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7673669" y="3043698"/>
            <a:ext cx="792000" cy="345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62" tIns="45229" rIns="90462" bIns="45229" numCol="1" anchor="ctr" anchorCtr="0" compatLnSpc="1">
            <a:prstTxWarp prst="textNoShape">
              <a:avLst/>
            </a:prstTxWarp>
          </a:bodyPr>
          <a:lstStyle>
            <a:defPPr>
              <a:defRPr lang="es-CL"/>
            </a:defPPr>
            <a:lvl1pPr defTabSz="453327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C00000"/>
                </a:solidFill>
              </a:defRPr>
            </a:lvl1pPr>
            <a:lvl2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2pPr>
            <a:lvl3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3pPr>
            <a:lvl4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4pPr>
            <a:lvl5pPr algn="ctr" defTabSz="453327" eaLnBrk="0" fontAlgn="base" hangingPunct="0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MS PGothic" pitchFamily="34" charset="-128"/>
                <a:cs typeface="ＭＳ Ｐゴシック" charset="0"/>
              </a:defRPr>
            </a:lvl5pPr>
            <a:lvl6pPr marL="458098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6193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4291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32385" algn="ctr" defTabSz="453327" fontAlgn="base">
              <a:spcBef>
                <a:spcPct val="0"/>
              </a:spcBef>
              <a:spcAft>
                <a:spcPct val="0"/>
              </a:spcAft>
              <a:defRPr sz="4411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ctr"/>
            <a:r>
              <a:rPr lang="es-CL" sz="1800">
                <a:solidFill>
                  <a:srgbClr val="FF0000"/>
                </a:solidFill>
              </a:rPr>
              <a:t>UN6</a:t>
            </a:r>
          </a:p>
        </p:txBody>
      </p:sp>
      <p:sp>
        <p:nvSpPr>
          <p:cNvPr id="180" name="Rectángulo: esquinas redondeadas 179">
            <a:extLst>
              <a:ext uri="{FF2B5EF4-FFF2-40B4-BE49-F238E27FC236}">
                <a16:creationId xmlns:a16="http://schemas.microsoft.com/office/drawing/2014/main" id="{533E67ED-D36B-3D17-53A5-13C9ADB51A4F}"/>
              </a:ext>
            </a:extLst>
          </p:cNvPr>
          <p:cNvSpPr/>
          <p:nvPr/>
        </p:nvSpPr>
        <p:spPr>
          <a:xfrm>
            <a:off x="6609184" y="2351999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F4192A">
              <a:alpha val="3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indent="-171450" defTabSz="685730">
              <a:buFont typeface="Arial" panose="020B0604020202020204" pitchFamily="34" charset="0"/>
              <a:buChar char="•"/>
            </a:pPr>
            <a:endParaRPr lang="es-CL" sz="900" kern="0"/>
          </a:p>
        </p:txBody>
      </p:sp>
      <p:sp>
        <p:nvSpPr>
          <p:cNvPr id="81" name="Rectángulo: esquinas redondeadas 80">
            <a:extLst>
              <a:ext uri="{FF2B5EF4-FFF2-40B4-BE49-F238E27FC236}">
                <a16:creationId xmlns:a16="http://schemas.microsoft.com/office/drawing/2014/main" id="{EA4B2FA6-1FBF-64D4-343D-D09666527F58}"/>
              </a:ext>
            </a:extLst>
          </p:cNvPr>
          <p:cNvSpPr/>
          <p:nvPr/>
        </p:nvSpPr>
        <p:spPr>
          <a:xfrm>
            <a:off x="6609184" y="3093186"/>
            <a:ext cx="4824000" cy="251995"/>
          </a:xfrm>
          <a:prstGeom prst="roundRect">
            <a:avLst>
              <a:gd name="adj" fmla="val 4068"/>
            </a:avLst>
          </a:prstGeom>
          <a:solidFill>
            <a:srgbClr val="F4192A">
              <a:alpha val="30000"/>
            </a:srgb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marL="171450" indent="-171450" defTabSz="685730">
              <a:buFont typeface="Arial" panose="020B0604020202020204" pitchFamily="34" charset="0"/>
              <a:buChar char="•"/>
            </a:pPr>
            <a:endParaRPr lang="es-CL" sz="900" kern="0"/>
          </a:p>
        </p:txBody>
      </p:sp>
    </p:spTree>
    <p:extLst>
      <p:ext uri="{BB962C8B-B14F-4D97-AF65-F5344CB8AC3E}">
        <p14:creationId xmlns:p14="http://schemas.microsoft.com/office/powerpoint/2010/main" val="20485578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D4FEB957-2F2A-4642-AE45-7FF3B4A7B3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9375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87DD93E3-D715-4ED8-A56E-CE5D19D84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36" y="451835"/>
            <a:ext cx="361006" cy="690066"/>
          </a:xfrm>
          <a:prstGeom prst="rect">
            <a:avLst/>
          </a:prstGeom>
        </p:spPr>
      </p:pic>
      <p:sp>
        <p:nvSpPr>
          <p:cNvPr id="53" name="Rectángulo 52">
            <a:extLst>
              <a:ext uri="{FF2B5EF4-FFF2-40B4-BE49-F238E27FC236}">
                <a16:creationId xmlns:a16="http://schemas.microsoft.com/office/drawing/2014/main" id="{BDE956F1-A49C-4F38-93B2-6C2C64AB3EF6}"/>
              </a:ext>
            </a:extLst>
          </p:cNvPr>
          <p:cNvSpPr/>
          <p:nvPr/>
        </p:nvSpPr>
        <p:spPr>
          <a:xfrm>
            <a:off x="10693899" y="534968"/>
            <a:ext cx="11071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L" sz="1200" b="1">
                <a:solidFill>
                  <a:schemeClr val="bg1"/>
                </a:solidFill>
                <a:latin typeface="Calibri" panose="020F0502020204030204" pitchFamily="34" charset="0"/>
              </a:rPr>
              <a:t>servicio nuevo</a:t>
            </a:r>
          </a:p>
        </p:txBody>
      </p:sp>
      <p:sp>
        <p:nvSpPr>
          <p:cNvPr id="60" name="CuadroTexto 59">
            <a:extLst>
              <a:ext uri="{FF2B5EF4-FFF2-40B4-BE49-F238E27FC236}">
                <a16:creationId xmlns:a16="http://schemas.microsoft.com/office/drawing/2014/main" id="{A672651C-35B0-CF8D-C740-6745E57BAAD8}"/>
              </a:ext>
            </a:extLst>
          </p:cNvPr>
          <p:cNvSpPr txBox="1"/>
          <p:nvPr/>
        </p:nvSpPr>
        <p:spPr>
          <a:xfrm>
            <a:off x="597689" y="482282"/>
            <a:ext cx="1024363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b="1" dirty="0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cesionarios y Unidades de Servicio (US)</a:t>
            </a:r>
            <a:endParaRPr lang="es-CL" sz="4400" b="1" dirty="0">
              <a:solidFill>
                <a:srgbClr val="00AA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:a16="http://schemas.microsoft.com/office/drawing/2014/main" id="{D004DEF9-D061-A02B-F484-7257E9CF302B}"/>
              </a:ext>
            </a:extLst>
          </p:cNvPr>
          <p:cNvSpPr/>
          <p:nvPr/>
        </p:nvSpPr>
        <p:spPr>
          <a:xfrm>
            <a:off x="250542" y="1988840"/>
            <a:ext cx="1908000" cy="2556000"/>
          </a:xfrm>
          <a:prstGeom prst="roundRect">
            <a:avLst>
              <a:gd name="adj" fmla="val 13769"/>
            </a:avLst>
          </a:prstGeom>
          <a:noFill/>
          <a:ln w="19050">
            <a:solidFill>
              <a:srgbClr val="1069B2"/>
            </a:solidFill>
          </a:ln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endParaRPr lang="es-CL" b="1" dirty="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65" name="Rectángulo: esquinas redondeadas 64">
            <a:extLst>
              <a:ext uri="{FF2B5EF4-FFF2-40B4-BE49-F238E27FC236}">
                <a16:creationId xmlns:a16="http://schemas.microsoft.com/office/drawing/2014/main" id="{6CFDB7D0-9286-6018-4A92-DDB8ADF623CF}"/>
              </a:ext>
            </a:extLst>
          </p:cNvPr>
          <p:cNvSpPr/>
          <p:nvPr/>
        </p:nvSpPr>
        <p:spPr>
          <a:xfrm>
            <a:off x="2219271" y="1988840"/>
            <a:ext cx="1908000" cy="2556000"/>
          </a:xfrm>
          <a:prstGeom prst="roundRect">
            <a:avLst>
              <a:gd name="adj" fmla="val 13769"/>
            </a:avLst>
          </a:prstGeom>
          <a:noFill/>
          <a:ln w="19050">
            <a:solidFill>
              <a:srgbClr val="1069B2"/>
            </a:solidFill>
          </a:ln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endParaRPr lang="es-CL" b="1" dirty="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0" name="Rectángulo: esquinas redondeadas 69">
            <a:extLst>
              <a:ext uri="{FF2B5EF4-FFF2-40B4-BE49-F238E27FC236}">
                <a16:creationId xmlns:a16="http://schemas.microsoft.com/office/drawing/2014/main" id="{C6D892C9-C8BF-4440-4246-FCFBD66B5335}"/>
              </a:ext>
            </a:extLst>
          </p:cNvPr>
          <p:cNvSpPr/>
          <p:nvPr/>
        </p:nvSpPr>
        <p:spPr>
          <a:xfrm>
            <a:off x="4188000" y="1988840"/>
            <a:ext cx="1908000" cy="2556000"/>
          </a:xfrm>
          <a:prstGeom prst="roundRect">
            <a:avLst>
              <a:gd name="adj" fmla="val 13769"/>
            </a:avLst>
          </a:prstGeom>
          <a:noFill/>
          <a:ln w="19050">
            <a:solidFill>
              <a:srgbClr val="1069B2"/>
            </a:solidFill>
          </a:ln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endParaRPr lang="es-CL" b="1" dirty="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1" name="Rectángulo: esquinas redondeadas 70">
            <a:extLst>
              <a:ext uri="{FF2B5EF4-FFF2-40B4-BE49-F238E27FC236}">
                <a16:creationId xmlns:a16="http://schemas.microsoft.com/office/drawing/2014/main" id="{39B7F576-1EB9-BA85-08C0-194C1E50B065}"/>
              </a:ext>
            </a:extLst>
          </p:cNvPr>
          <p:cNvSpPr/>
          <p:nvPr/>
        </p:nvSpPr>
        <p:spPr>
          <a:xfrm>
            <a:off x="6156729" y="1988840"/>
            <a:ext cx="1908000" cy="2556000"/>
          </a:xfrm>
          <a:prstGeom prst="roundRect">
            <a:avLst>
              <a:gd name="adj" fmla="val 13769"/>
            </a:avLst>
          </a:prstGeom>
          <a:noFill/>
          <a:ln w="19050">
            <a:solidFill>
              <a:srgbClr val="1069B2"/>
            </a:solidFill>
          </a:ln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endParaRPr lang="es-CL" b="1" dirty="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2" name="Rectángulo: esquinas redondeadas 71">
            <a:extLst>
              <a:ext uri="{FF2B5EF4-FFF2-40B4-BE49-F238E27FC236}">
                <a16:creationId xmlns:a16="http://schemas.microsoft.com/office/drawing/2014/main" id="{29DE4001-924E-23D8-1B96-E2A651B2D6B0}"/>
              </a:ext>
            </a:extLst>
          </p:cNvPr>
          <p:cNvSpPr/>
          <p:nvPr/>
        </p:nvSpPr>
        <p:spPr>
          <a:xfrm>
            <a:off x="8125458" y="1988840"/>
            <a:ext cx="1908000" cy="2556000"/>
          </a:xfrm>
          <a:prstGeom prst="roundRect">
            <a:avLst>
              <a:gd name="adj" fmla="val 13769"/>
            </a:avLst>
          </a:prstGeom>
          <a:noFill/>
          <a:ln w="19050">
            <a:solidFill>
              <a:srgbClr val="1069B2"/>
            </a:solidFill>
          </a:ln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endParaRPr lang="es-CL" b="1" dirty="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3" name="Rectángulo: esquinas redondeadas 72">
            <a:extLst>
              <a:ext uri="{FF2B5EF4-FFF2-40B4-BE49-F238E27FC236}">
                <a16:creationId xmlns:a16="http://schemas.microsoft.com/office/drawing/2014/main" id="{6F5038DB-CEBF-088D-2A67-2EFC316D760D}"/>
              </a:ext>
            </a:extLst>
          </p:cNvPr>
          <p:cNvSpPr/>
          <p:nvPr/>
        </p:nvSpPr>
        <p:spPr>
          <a:xfrm>
            <a:off x="10094187" y="1988840"/>
            <a:ext cx="1908000" cy="2556000"/>
          </a:xfrm>
          <a:prstGeom prst="roundRect">
            <a:avLst>
              <a:gd name="adj" fmla="val 13769"/>
            </a:avLst>
          </a:prstGeom>
          <a:noFill/>
          <a:ln w="19050">
            <a:solidFill>
              <a:srgbClr val="1069B2"/>
            </a:solidFill>
          </a:ln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endParaRPr lang="es-CL" b="1" dirty="0">
              <a:solidFill>
                <a:schemeClr val="bg1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74" name="Imagen 2">
            <a:extLst>
              <a:ext uri="{FF2B5EF4-FFF2-40B4-BE49-F238E27FC236}">
                <a16:creationId xmlns:a16="http://schemas.microsoft.com/office/drawing/2014/main" id="{1AC4EF4C-4349-1C80-4857-5B600B190F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24"/>
          <a:stretch/>
        </p:blipFill>
        <p:spPr bwMode="auto">
          <a:xfrm>
            <a:off x="439690" y="2200512"/>
            <a:ext cx="1532517" cy="15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Imagen 3">
            <a:extLst>
              <a:ext uri="{FF2B5EF4-FFF2-40B4-BE49-F238E27FC236}">
                <a16:creationId xmlns:a16="http://schemas.microsoft.com/office/drawing/2014/main" id="{87789805-C03C-ADCE-D2DE-A5D32BEFF9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44"/>
          <a:stretch/>
        </p:blipFill>
        <p:spPr bwMode="auto">
          <a:xfrm>
            <a:off x="2408138" y="2163873"/>
            <a:ext cx="1532517" cy="15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Imagen 4">
            <a:extLst>
              <a:ext uri="{FF2B5EF4-FFF2-40B4-BE49-F238E27FC236}">
                <a16:creationId xmlns:a16="http://schemas.microsoft.com/office/drawing/2014/main" id="{7C80F9FB-CD4F-927C-AD10-73EBE64FF0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44" b="1404"/>
          <a:stretch/>
        </p:blipFill>
        <p:spPr bwMode="auto">
          <a:xfrm>
            <a:off x="4376586" y="2163873"/>
            <a:ext cx="1532517" cy="15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" name="Imagen 5">
            <a:extLst>
              <a:ext uri="{FF2B5EF4-FFF2-40B4-BE49-F238E27FC236}">
                <a16:creationId xmlns:a16="http://schemas.microsoft.com/office/drawing/2014/main" id="{7E12D309-73C7-6F88-A2D0-E7CA8BA5C0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44" b="2116"/>
          <a:stretch/>
        </p:blipFill>
        <p:spPr bwMode="auto">
          <a:xfrm>
            <a:off x="6345034" y="2163873"/>
            <a:ext cx="1532517" cy="15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Imagen 6">
            <a:extLst>
              <a:ext uri="{FF2B5EF4-FFF2-40B4-BE49-F238E27FC236}">
                <a16:creationId xmlns:a16="http://schemas.microsoft.com/office/drawing/2014/main" id="{E48EBAAC-ED7C-89A2-762D-C9C3A845586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144" b="1432"/>
          <a:stretch/>
        </p:blipFill>
        <p:spPr bwMode="auto">
          <a:xfrm>
            <a:off x="8313482" y="2163873"/>
            <a:ext cx="1532517" cy="15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Imagen 7">
            <a:extLst>
              <a:ext uri="{FF2B5EF4-FFF2-40B4-BE49-F238E27FC236}">
                <a16:creationId xmlns:a16="http://schemas.microsoft.com/office/drawing/2014/main" id="{BFEBE1C0-FC94-A02C-0871-67E4612BF9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23" b="1320"/>
          <a:stretch/>
        </p:blipFill>
        <p:spPr bwMode="auto">
          <a:xfrm>
            <a:off x="10281928" y="2200800"/>
            <a:ext cx="1532517" cy="15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Rectángulo 79">
            <a:extLst>
              <a:ext uri="{FF2B5EF4-FFF2-40B4-BE49-F238E27FC236}">
                <a16:creationId xmlns:a16="http://schemas.microsoft.com/office/drawing/2014/main" id="{A6D22F10-33BF-FA76-FF65-CED950F8E041}"/>
              </a:ext>
            </a:extLst>
          </p:cNvPr>
          <p:cNvSpPr/>
          <p:nvPr/>
        </p:nvSpPr>
        <p:spPr>
          <a:xfrm>
            <a:off x="446460" y="3400019"/>
            <a:ext cx="488908" cy="307260"/>
          </a:xfrm>
          <a:prstGeom prst="rect">
            <a:avLst/>
          </a:prstGeom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s-CL" b="1" dirty="0">
                <a:solidFill>
                  <a:srgbClr val="0070C0"/>
                </a:solidFill>
                <a:latin typeface="Verdana"/>
                <a:ea typeface="Verdana"/>
                <a:cs typeface="Verdana"/>
                <a:sym typeface="Verdana"/>
              </a:rPr>
              <a:t>US1</a:t>
            </a:r>
          </a:p>
        </p:txBody>
      </p:sp>
      <p:sp>
        <p:nvSpPr>
          <p:cNvPr id="81" name="Rectángulo 80">
            <a:extLst>
              <a:ext uri="{FF2B5EF4-FFF2-40B4-BE49-F238E27FC236}">
                <a16:creationId xmlns:a16="http://schemas.microsoft.com/office/drawing/2014/main" id="{7473FC2A-4C10-41A2-2158-4D79E47689F7}"/>
              </a:ext>
            </a:extLst>
          </p:cNvPr>
          <p:cNvSpPr/>
          <p:nvPr/>
        </p:nvSpPr>
        <p:spPr>
          <a:xfrm>
            <a:off x="2414757" y="3400019"/>
            <a:ext cx="488908" cy="307260"/>
          </a:xfrm>
          <a:prstGeom prst="rect">
            <a:avLst/>
          </a:prstGeom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s-CL" b="1" dirty="0">
                <a:solidFill>
                  <a:srgbClr val="0070C0"/>
                </a:solidFill>
                <a:latin typeface="Verdana"/>
                <a:ea typeface="Verdana"/>
                <a:cs typeface="Verdana"/>
                <a:sym typeface="Verdana"/>
              </a:rPr>
              <a:t>US2</a:t>
            </a:r>
          </a:p>
        </p:txBody>
      </p:sp>
      <p:sp>
        <p:nvSpPr>
          <p:cNvPr id="82" name="Rectángulo 81">
            <a:extLst>
              <a:ext uri="{FF2B5EF4-FFF2-40B4-BE49-F238E27FC236}">
                <a16:creationId xmlns:a16="http://schemas.microsoft.com/office/drawing/2014/main" id="{28A3A62B-A012-C747-E0C2-0093FB93AA77}"/>
              </a:ext>
            </a:extLst>
          </p:cNvPr>
          <p:cNvSpPr/>
          <p:nvPr/>
        </p:nvSpPr>
        <p:spPr>
          <a:xfrm>
            <a:off x="4383054" y="3400019"/>
            <a:ext cx="488908" cy="307260"/>
          </a:xfrm>
          <a:prstGeom prst="rect">
            <a:avLst/>
          </a:prstGeom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s-CL" b="1" dirty="0">
                <a:solidFill>
                  <a:srgbClr val="0070C0"/>
                </a:solidFill>
                <a:latin typeface="Verdana"/>
                <a:ea typeface="Verdana"/>
                <a:cs typeface="Verdana"/>
                <a:sym typeface="Verdana"/>
              </a:rPr>
              <a:t>US3</a:t>
            </a:r>
          </a:p>
        </p:txBody>
      </p:sp>
      <p:sp>
        <p:nvSpPr>
          <p:cNvPr id="83" name="Rectángulo 82">
            <a:extLst>
              <a:ext uri="{FF2B5EF4-FFF2-40B4-BE49-F238E27FC236}">
                <a16:creationId xmlns:a16="http://schemas.microsoft.com/office/drawing/2014/main" id="{D1631584-063C-049E-D5E7-0C3292D48587}"/>
              </a:ext>
            </a:extLst>
          </p:cNvPr>
          <p:cNvSpPr/>
          <p:nvPr/>
        </p:nvSpPr>
        <p:spPr>
          <a:xfrm>
            <a:off x="6351351" y="3400019"/>
            <a:ext cx="488908" cy="307260"/>
          </a:xfrm>
          <a:prstGeom prst="rect">
            <a:avLst/>
          </a:prstGeom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s-CL" b="1" dirty="0">
                <a:solidFill>
                  <a:srgbClr val="0070C0"/>
                </a:solidFill>
                <a:latin typeface="Verdana"/>
                <a:ea typeface="Verdana"/>
                <a:cs typeface="Verdana"/>
                <a:sym typeface="Verdana"/>
              </a:rPr>
              <a:t>US4</a:t>
            </a:r>
          </a:p>
        </p:txBody>
      </p:sp>
      <p:sp>
        <p:nvSpPr>
          <p:cNvPr id="84" name="Rectángulo 83">
            <a:extLst>
              <a:ext uri="{FF2B5EF4-FFF2-40B4-BE49-F238E27FC236}">
                <a16:creationId xmlns:a16="http://schemas.microsoft.com/office/drawing/2014/main" id="{EF167B99-093A-DEFA-7118-2543085F9638}"/>
              </a:ext>
            </a:extLst>
          </p:cNvPr>
          <p:cNvSpPr/>
          <p:nvPr/>
        </p:nvSpPr>
        <p:spPr>
          <a:xfrm>
            <a:off x="8319648" y="3400019"/>
            <a:ext cx="488908" cy="307260"/>
          </a:xfrm>
          <a:prstGeom prst="rect">
            <a:avLst/>
          </a:prstGeom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s-CL" b="1" dirty="0">
                <a:solidFill>
                  <a:srgbClr val="0070C0"/>
                </a:solidFill>
                <a:latin typeface="Verdana"/>
                <a:ea typeface="Verdana"/>
                <a:cs typeface="Verdana"/>
                <a:sym typeface="Verdana"/>
              </a:rPr>
              <a:t>US5</a:t>
            </a:r>
          </a:p>
        </p:txBody>
      </p:sp>
      <p:sp>
        <p:nvSpPr>
          <p:cNvPr id="85" name="Rectángulo 84">
            <a:extLst>
              <a:ext uri="{FF2B5EF4-FFF2-40B4-BE49-F238E27FC236}">
                <a16:creationId xmlns:a16="http://schemas.microsoft.com/office/drawing/2014/main" id="{AE3BD93F-5A26-F1BB-1A7A-885722365BBB}"/>
              </a:ext>
            </a:extLst>
          </p:cNvPr>
          <p:cNvSpPr/>
          <p:nvPr/>
        </p:nvSpPr>
        <p:spPr>
          <a:xfrm>
            <a:off x="10287946" y="3400019"/>
            <a:ext cx="488908" cy="307260"/>
          </a:xfrm>
          <a:prstGeom prst="rect">
            <a:avLst/>
          </a:prstGeom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s-CL" b="1" dirty="0">
                <a:solidFill>
                  <a:srgbClr val="0070C0"/>
                </a:solidFill>
                <a:latin typeface="Verdana"/>
                <a:ea typeface="Verdana"/>
                <a:cs typeface="Verdana"/>
                <a:sym typeface="Verdana"/>
              </a:rPr>
              <a:t>US6</a:t>
            </a:r>
          </a:p>
        </p:txBody>
      </p:sp>
      <p:pic>
        <p:nvPicPr>
          <p:cNvPr id="86" name="Imagen 85">
            <a:extLst>
              <a:ext uri="{FF2B5EF4-FFF2-40B4-BE49-F238E27FC236}">
                <a16:creationId xmlns:a16="http://schemas.microsoft.com/office/drawing/2014/main" id="{AF0A7471-298A-0C12-FFE0-C135643DB8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29716" y="3940516"/>
            <a:ext cx="1236940" cy="235937"/>
          </a:xfrm>
          <a:prstGeom prst="rect">
            <a:avLst/>
          </a:prstGeom>
        </p:spPr>
      </p:pic>
      <p:pic>
        <p:nvPicPr>
          <p:cNvPr id="87" name="Imagen 86">
            <a:extLst>
              <a:ext uri="{FF2B5EF4-FFF2-40B4-BE49-F238E27FC236}">
                <a16:creationId xmlns:a16="http://schemas.microsoft.com/office/drawing/2014/main" id="{F1D1CB99-41D2-CE76-1313-34ADBF6A826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92259" y="3940516"/>
            <a:ext cx="1236940" cy="235937"/>
          </a:xfrm>
          <a:prstGeom prst="rect">
            <a:avLst/>
          </a:prstGeom>
        </p:spPr>
      </p:pic>
      <p:pic>
        <p:nvPicPr>
          <p:cNvPr id="88" name="Picture 6">
            <a:extLst>
              <a:ext uri="{FF2B5EF4-FFF2-40B4-BE49-F238E27FC236}">
                <a16:creationId xmlns:a16="http://schemas.microsoft.com/office/drawing/2014/main" id="{DFFA8094-F4F1-B73A-871F-26AA66F1FF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41" b="13459"/>
          <a:stretch/>
        </p:blipFill>
        <p:spPr bwMode="auto">
          <a:xfrm>
            <a:off x="4832701" y="3830189"/>
            <a:ext cx="618597" cy="456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8" descr="GRUPO METROPOL Logo">
            <a:extLst>
              <a:ext uri="{FF2B5EF4-FFF2-40B4-BE49-F238E27FC236}">
                <a16:creationId xmlns:a16="http://schemas.microsoft.com/office/drawing/2014/main" id="{78CE5B4E-E6ED-E392-F78B-666E7F5F28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806" y="3863875"/>
            <a:ext cx="1199472" cy="389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8" descr="GRUPO METROPOL Logo">
            <a:extLst>
              <a:ext uri="{FF2B5EF4-FFF2-40B4-BE49-F238E27FC236}">
                <a16:creationId xmlns:a16="http://schemas.microsoft.com/office/drawing/2014/main" id="{DAD7E2FE-4B83-A189-C550-D89A6AB8E2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6030" y="3863875"/>
            <a:ext cx="1199472" cy="389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6">
            <a:extLst>
              <a:ext uri="{FF2B5EF4-FFF2-40B4-BE49-F238E27FC236}">
                <a16:creationId xmlns:a16="http://schemas.microsoft.com/office/drawing/2014/main" id="{FF4E0419-AD7E-0CA1-1641-6A9608D637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41" b="13459"/>
          <a:stretch/>
        </p:blipFill>
        <p:spPr bwMode="auto">
          <a:xfrm>
            <a:off x="8770159" y="3824563"/>
            <a:ext cx="618597" cy="456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57838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D4FEB957-2F2A-4642-AE45-7FF3B4A7B3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9375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87DD93E3-D715-4ED8-A56E-CE5D19D84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36" y="451835"/>
            <a:ext cx="361006" cy="690066"/>
          </a:xfrm>
          <a:prstGeom prst="rect">
            <a:avLst/>
          </a:prstGeom>
        </p:spPr>
      </p:pic>
      <p:sp>
        <p:nvSpPr>
          <p:cNvPr id="53" name="Rectángulo 52">
            <a:extLst>
              <a:ext uri="{FF2B5EF4-FFF2-40B4-BE49-F238E27FC236}">
                <a16:creationId xmlns:a16="http://schemas.microsoft.com/office/drawing/2014/main" id="{BDE956F1-A49C-4F38-93B2-6C2C64AB3EF6}"/>
              </a:ext>
            </a:extLst>
          </p:cNvPr>
          <p:cNvSpPr/>
          <p:nvPr/>
        </p:nvSpPr>
        <p:spPr>
          <a:xfrm>
            <a:off x="10693899" y="534968"/>
            <a:ext cx="11071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s-CL" sz="1200" b="1">
                <a:solidFill>
                  <a:schemeClr val="bg1"/>
                </a:solidFill>
                <a:latin typeface="Calibri" panose="020F0502020204030204" pitchFamily="34" charset="0"/>
              </a:rPr>
              <a:t>servicio nuevo</a:t>
            </a:r>
          </a:p>
        </p:txBody>
      </p:sp>
      <p:cxnSp>
        <p:nvCxnSpPr>
          <p:cNvPr id="60" name="Conector recto de flecha 11">
            <a:extLst>
              <a:ext uri="{FF2B5EF4-FFF2-40B4-BE49-F238E27FC236}">
                <a16:creationId xmlns:a16="http://schemas.microsoft.com/office/drawing/2014/main" id="{983B089A-1108-3EF0-2FD9-0D231F4B4D93}"/>
              </a:ext>
            </a:extLst>
          </p:cNvPr>
          <p:cNvCxnSpPr>
            <a:cxnSpLocks/>
            <a:stCxn id="80" idx="1"/>
            <a:endCxn id="85" idx="3"/>
          </p:cNvCxnSpPr>
          <p:nvPr/>
        </p:nvCxnSpPr>
        <p:spPr>
          <a:xfrm flipH="1" flipV="1">
            <a:off x="2150978" y="4136554"/>
            <a:ext cx="1946813" cy="0"/>
          </a:xfrm>
          <a:prstGeom prst="straightConnector1">
            <a:avLst/>
          </a:prstGeom>
          <a:ln w="28575">
            <a:solidFill>
              <a:srgbClr val="FF3F5F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Elipse 62">
            <a:extLst>
              <a:ext uri="{FF2B5EF4-FFF2-40B4-BE49-F238E27FC236}">
                <a16:creationId xmlns:a16="http://schemas.microsoft.com/office/drawing/2014/main" id="{52517D6B-F738-DFB0-9C06-F9DBAD47F1A9}"/>
              </a:ext>
            </a:extLst>
          </p:cNvPr>
          <p:cNvSpPr/>
          <p:nvPr/>
        </p:nvSpPr>
        <p:spPr>
          <a:xfrm>
            <a:off x="1357153" y="2974190"/>
            <a:ext cx="569864" cy="461123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t"/>
          <a:lstStyle/>
          <a:p>
            <a:pPr algn="ctr"/>
            <a:endParaRPr lang="es-CL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5" name="Conector: angular 9">
            <a:extLst>
              <a:ext uri="{FF2B5EF4-FFF2-40B4-BE49-F238E27FC236}">
                <a16:creationId xmlns:a16="http://schemas.microsoft.com/office/drawing/2014/main" id="{FC24421A-4D8E-680E-704B-EA3A19A42E0F}"/>
              </a:ext>
            </a:extLst>
          </p:cNvPr>
          <p:cNvCxnSpPr>
            <a:cxnSpLocks/>
            <a:stCxn id="180" idx="6"/>
            <a:endCxn id="80" idx="0"/>
          </p:cNvCxnSpPr>
          <p:nvPr/>
        </p:nvCxnSpPr>
        <p:spPr>
          <a:xfrm>
            <a:off x="3984591" y="1900058"/>
            <a:ext cx="926203" cy="1681470"/>
          </a:xfrm>
          <a:prstGeom prst="bentConnector2">
            <a:avLst/>
          </a:prstGeom>
          <a:ln w="28575">
            <a:solidFill>
              <a:srgbClr val="FF3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Elipse 69">
            <a:extLst>
              <a:ext uri="{FF2B5EF4-FFF2-40B4-BE49-F238E27FC236}">
                <a16:creationId xmlns:a16="http://schemas.microsoft.com/office/drawing/2014/main" id="{480778B5-D31C-7A21-41D4-C7354159B53C}"/>
              </a:ext>
            </a:extLst>
          </p:cNvPr>
          <p:cNvSpPr/>
          <p:nvPr/>
        </p:nvSpPr>
        <p:spPr>
          <a:xfrm>
            <a:off x="1357153" y="2849371"/>
            <a:ext cx="569864" cy="461123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t"/>
          <a:lstStyle/>
          <a:p>
            <a:pPr algn="ctr"/>
            <a:endParaRPr lang="es-CL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1" name="Conector: angular 11">
            <a:extLst>
              <a:ext uri="{FF2B5EF4-FFF2-40B4-BE49-F238E27FC236}">
                <a16:creationId xmlns:a16="http://schemas.microsoft.com/office/drawing/2014/main" id="{DFA437C3-657B-AFEE-E6DD-950F0FA1DFAE}"/>
              </a:ext>
            </a:extLst>
          </p:cNvPr>
          <p:cNvCxnSpPr>
            <a:cxnSpLocks/>
            <a:stCxn id="180" idx="2"/>
            <a:endCxn id="85" idx="0"/>
          </p:cNvCxnSpPr>
          <p:nvPr/>
        </p:nvCxnSpPr>
        <p:spPr>
          <a:xfrm rot="10800000" flipV="1">
            <a:off x="1340979" y="1900058"/>
            <a:ext cx="1086607" cy="1678496"/>
          </a:xfrm>
          <a:prstGeom prst="bentConnector2">
            <a:avLst/>
          </a:prstGeom>
          <a:ln w="28575">
            <a:solidFill>
              <a:srgbClr val="FF3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ector: angular 138">
            <a:extLst>
              <a:ext uri="{FF2B5EF4-FFF2-40B4-BE49-F238E27FC236}">
                <a16:creationId xmlns:a16="http://schemas.microsoft.com/office/drawing/2014/main" id="{91F1EF4B-9266-B057-5456-BD6F55034BB3}"/>
              </a:ext>
            </a:extLst>
          </p:cNvPr>
          <p:cNvCxnSpPr>
            <a:cxnSpLocks/>
            <a:stCxn id="180" idx="2"/>
            <a:endCxn id="76" idx="0"/>
          </p:cNvCxnSpPr>
          <p:nvPr/>
        </p:nvCxnSpPr>
        <p:spPr>
          <a:xfrm rot="10800000" flipV="1">
            <a:off x="1797809" y="1900057"/>
            <a:ext cx="629777" cy="522771"/>
          </a:xfrm>
          <a:prstGeom prst="bentConnector2">
            <a:avLst/>
          </a:prstGeom>
          <a:ln w="28575">
            <a:solidFill>
              <a:srgbClr val="FF3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ector: angular 139">
            <a:extLst>
              <a:ext uri="{FF2B5EF4-FFF2-40B4-BE49-F238E27FC236}">
                <a16:creationId xmlns:a16="http://schemas.microsoft.com/office/drawing/2014/main" id="{9247DF24-C147-C1EA-9438-C97B833C6AFB}"/>
              </a:ext>
            </a:extLst>
          </p:cNvPr>
          <p:cNvCxnSpPr>
            <a:cxnSpLocks/>
            <a:stCxn id="76" idx="4"/>
            <a:endCxn id="85" idx="0"/>
          </p:cNvCxnSpPr>
          <p:nvPr/>
        </p:nvCxnSpPr>
        <p:spPr>
          <a:xfrm rot="5400000">
            <a:off x="1304240" y="3084986"/>
            <a:ext cx="530306" cy="456830"/>
          </a:xfrm>
          <a:prstGeom prst="bentConnector3">
            <a:avLst>
              <a:gd name="adj1" fmla="val 50000"/>
            </a:avLst>
          </a:prstGeom>
          <a:ln w="28575">
            <a:solidFill>
              <a:srgbClr val="FF3F5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ángulo 73">
            <a:extLst>
              <a:ext uri="{FF2B5EF4-FFF2-40B4-BE49-F238E27FC236}">
                <a16:creationId xmlns:a16="http://schemas.microsoft.com/office/drawing/2014/main" id="{022BC4E9-A3EB-A7D6-AE09-A147EBD8B161}"/>
              </a:ext>
            </a:extLst>
          </p:cNvPr>
          <p:cNvSpPr/>
          <p:nvPr/>
        </p:nvSpPr>
        <p:spPr>
          <a:xfrm>
            <a:off x="1842098" y="2792426"/>
            <a:ext cx="1522930" cy="416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ctr"/>
          <a:lstStyle/>
          <a:p>
            <a:pPr algn="ctr"/>
            <a:r>
              <a:rPr lang="es-CL" sz="140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erminales provistos por MTT</a:t>
            </a:r>
          </a:p>
        </p:txBody>
      </p:sp>
      <p:grpSp>
        <p:nvGrpSpPr>
          <p:cNvPr id="75" name="Agrupar 67">
            <a:extLst>
              <a:ext uri="{FF2B5EF4-FFF2-40B4-BE49-F238E27FC236}">
                <a16:creationId xmlns:a16="http://schemas.microsoft.com/office/drawing/2014/main" id="{52649651-2AC7-8DD0-0997-13175A686507}"/>
              </a:ext>
            </a:extLst>
          </p:cNvPr>
          <p:cNvGrpSpPr/>
          <p:nvPr/>
        </p:nvGrpSpPr>
        <p:grpSpPr>
          <a:xfrm>
            <a:off x="1483812" y="2422829"/>
            <a:ext cx="627991" cy="625419"/>
            <a:chOff x="1483085" y="3145548"/>
            <a:chExt cx="627991" cy="625419"/>
          </a:xfrm>
        </p:grpSpPr>
        <p:sp>
          <p:nvSpPr>
            <p:cNvPr id="76" name="Elipse 75">
              <a:extLst>
                <a:ext uri="{FF2B5EF4-FFF2-40B4-BE49-F238E27FC236}">
                  <a16:creationId xmlns:a16="http://schemas.microsoft.com/office/drawing/2014/main" id="{BF47989D-1736-880F-601E-4E1296120883}"/>
                </a:ext>
              </a:extLst>
            </p:cNvPr>
            <p:cNvSpPr/>
            <p:nvPr/>
          </p:nvSpPr>
          <p:spPr>
            <a:xfrm>
              <a:off x="1483085" y="3145548"/>
              <a:ext cx="627991" cy="625419"/>
            </a:xfrm>
            <a:prstGeom prst="ellipse">
              <a:avLst/>
            </a:prstGeom>
            <a:solidFill>
              <a:schemeClr val="lt1"/>
            </a:solidFill>
            <a:ln w="28575" cap="flat" cmpd="sng">
              <a:solidFill>
                <a:srgbClr val="FF3F5F"/>
              </a:solidFill>
              <a:prstDash val="solid"/>
              <a:round/>
              <a:headEnd type="none" w="lg" len="lg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es-CL" sz="2400"/>
            </a:p>
          </p:txBody>
        </p:sp>
        <p:pic>
          <p:nvPicPr>
            <p:cNvPr id="77" name="Imagen 76">
              <a:extLst>
                <a:ext uri="{FF2B5EF4-FFF2-40B4-BE49-F238E27FC236}">
                  <a16:creationId xmlns:a16="http://schemas.microsoft.com/office/drawing/2014/main" id="{2CD8F8D6-DF6C-E9A5-2B9F-0A38C0E11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549579" y="3285927"/>
              <a:ext cx="498852" cy="332568"/>
            </a:xfrm>
            <a:prstGeom prst="rect">
              <a:avLst/>
            </a:prstGeom>
          </p:spPr>
        </p:pic>
      </p:grpSp>
      <p:sp>
        <p:nvSpPr>
          <p:cNvPr id="78" name="Rectángulo 77">
            <a:extLst>
              <a:ext uri="{FF2B5EF4-FFF2-40B4-BE49-F238E27FC236}">
                <a16:creationId xmlns:a16="http://schemas.microsoft.com/office/drawing/2014/main" id="{8257633E-83C6-5D44-DC3D-EDD3D412ABA1}"/>
              </a:ext>
            </a:extLst>
          </p:cNvPr>
          <p:cNvSpPr/>
          <p:nvPr/>
        </p:nvSpPr>
        <p:spPr>
          <a:xfrm>
            <a:off x="3936248" y="4757647"/>
            <a:ext cx="1958088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ctr">
            <a:noAutofit/>
          </a:bodyPr>
          <a:lstStyle/>
          <a:p>
            <a:pPr lvl="0" algn="ctr" defTabSz="914400">
              <a:defRPr/>
            </a:pPr>
            <a:r>
              <a:rPr lang="es-CL" sz="1400" b="1">
                <a:solidFill>
                  <a:schemeClr val="tx1"/>
                </a:solidFill>
                <a:cs typeface="Arial" panose="020B0604020202020204" pitchFamily="34" charset="0"/>
              </a:rPr>
              <a:t>Entrega plan y certifica mantenimiento</a:t>
            </a:r>
            <a:endParaRPr lang="es-CL" sz="1400" b="1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grpSp>
        <p:nvGrpSpPr>
          <p:cNvPr id="79" name="Grupo 78">
            <a:extLst>
              <a:ext uri="{FF2B5EF4-FFF2-40B4-BE49-F238E27FC236}">
                <a16:creationId xmlns:a16="http://schemas.microsoft.com/office/drawing/2014/main" id="{F41073C7-F07A-D1C1-DFB5-AD70BC8221F6}"/>
              </a:ext>
            </a:extLst>
          </p:cNvPr>
          <p:cNvGrpSpPr/>
          <p:nvPr/>
        </p:nvGrpSpPr>
        <p:grpSpPr>
          <a:xfrm>
            <a:off x="4097791" y="3573456"/>
            <a:ext cx="1626005" cy="1139987"/>
            <a:chOff x="4097791" y="3575839"/>
            <a:chExt cx="1626005" cy="1139987"/>
          </a:xfrm>
        </p:grpSpPr>
        <p:sp>
          <p:nvSpPr>
            <p:cNvPr id="80" name="Shape 290">
              <a:extLst>
                <a:ext uri="{FF2B5EF4-FFF2-40B4-BE49-F238E27FC236}">
                  <a16:creationId xmlns:a16="http://schemas.microsoft.com/office/drawing/2014/main" id="{84AFD1BA-E2FC-CBC7-0BA0-29D793A6F127}"/>
                </a:ext>
              </a:extLst>
            </p:cNvPr>
            <p:cNvSpPr/>
            <p:nvPr/>
          </p:nvSpPr>
          <p:spPr>
            <a:xfrm>
              <a:off x="4097791" y="3583911"/>
              <a:ext cx="1626005" cy="1131915"/>
            </a:xfrm>
            <a:prstGeom prst="roundRect">
              <a:avLst/>
            </a:prstGeom>
            <a:solidFill>
              <a:schemeClr val="bg2"/>
            </a:solidFill>
            <a:ln w="25400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lIns="121900" tIns="60933" rIns="121900" bIns="60933" anchor="ctr" anchorCtr="0">
              <a:noAutofit/>
            </a:bodyPr>
            <a:lstStyle/>
            <a:p>
              <a:pPr algn="ctr"/>
              <a:endParaRPr lang="es-CL" sz="1600" b="1"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81" name="CuadroTexto 80">
              <a:extLst>
                <a:ext uri="{FF2B5EF4-FFF2-40B4-BE49-F238E27FC236}">
                  <a16:creationId xmlns:a16="http://schemas.microsoft.com/office/drawing/2014/main" id="{2812CCF8-8BDB-98B7-4267-A0A3D54A6590}"/>
                </a:ext>
              </a:extLst>
            </p:cNvPr>
            <p:cNvSpPr txBox="1"/>
            <p:nvPr/>
          </p:nvSpPr>
          <p:spPr>
            <a:xfrm>
              <a:off x="4097791" y="4160863"/>
              <a:ext cx="1626005" cy="540000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>
                <a:lnSpc>
                  <a:spcPts val="1700"/>
                </a:lnSpc>
              </a:pPr>
              <a:r>
                <a:rPr lang="es-CL" sz="1600" b="1"/>
                <a:t>Suministradores de Buses</a:t>
              </a:r>
            </a:p>
          </p:txBody>
        </p:sp>
        <p:pic>
          <p:nvPicPr>
            <p:cNvPr id="82" name="Imagen 81">
              <a:extLst>
                <a:ext uri="{FF2B5EF4-FFF2-40B4-BE49-F238E27FC236}">
                  <a16:creationId xmlns:a16="http://schemas.microsoft.com/office/drawing/2014/main" id="{301D812D-DFD8-2B24-0958-9F1D8D7526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7964"/>
            <a:stretch/>
          </p:blipFill>
          <p:spPr>
            <a:xfrm>
              <a:off x="4518828" y="3698068"/>
              <a:ext cx="783930" cy="461486"/>
            </a:xfrm>
            <a:prstGeom prst="rect">
              <a:avLst/>
            </a:prstGeom>
          </p:spPr>
        </p:pic>
        <p:pic>
          <p:nvPicPr>
            <p:cNvPr id="83" name="Picture 2" descr="Resultado de imagen para THUNDER black icon">
              <a:extLst>
                <a:ext uri="{FF2B5EF4-FFF2-40B4-BE49-F238E27FC236}">
                  <a16:creationId xmlns:a16="http://schemas.microsoft.com/office/drawing/2014/main" id="{0AAC6C81-4082-D9D1-767B-A798CFB678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duotone>
                <a:srgbClr val="C0504D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3608" y="3575839"/>
              <a:ext cx="286672" cy="2866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4" name="Grupo 83">
            <a:extLst>
              <a:ext uri="{FF2B5EF4-FFF2-40B4-BE49-F238E27FC236}">
                <a16:creationId xmlns:a16="http://schemas.microsoft.com/office/drawing/2014/main" id="{35E5E668-D1FA-25A9-1AB6-34C1F2A7AECF}"/>
              </a:ext>
            </a:extLst>
          </p:cNvPr>
          <p:cNvGrpSpPr/>
          <p:nvPr/>
        </p:nvGrpSpPr>
        <p:grpSpPr>
          <a:xfrm>
            <a:off x="530978" y="3578554"/>
            <a:ext cx="1620000" cy="1129791"/>
            <a:chOff x="530978" y="3571072"/>
            <a:chExt cx="1620000" cy="1129791"/>
          </a:xfrm>
        </p:grpSpPr>
        <p:sp>
          <p:nvSpPr>
            <p:cNvPr id="85" name="Shape 290">
              <a:extLst>
                <a:ext uri="{FF2B5EF4-FFF2-40B4-BE49-F238E27FC236}">
                  <a16:creationId xmlns:a16="http://schemas.microsoft.com/office/drawing/2014/main" id="{B1DD1D7C-FC18-C19D-A651-3C0BE9CEE4D4}"/>
                </a:ext>
              </a:extLst>
            </p:cNvPr>
            <p:cNvSpPr/>
            <p:nvPr/>
          </p:nvSpPr>
          <p:spPr>
            <a:xfrm>
              <a:off x="530978" y="3571072"/>
              <a:ext cx="1620000" cy="1116000"/>
            </a:xfrm>
            <a:prstGeom prst="roundRect">
              <a:avLst/>
            </a:prstGeom>
            <a:solidFill>
              <a:schemeClr val="bg2"/>
            </a:solidFill>
            <a:ln w="25400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 lIns="121900" tIns="60933" rIns="121900" bIns="60933" anchor="ctr" anchorCtr="0">
              <a:noAutofit/>
            </a:bodyPr>
            <a:lstStyle/>
            <a:p>
              <a:pPr algn="ctr"/>
              <a:endParaRPr lang="es-CL" sz="1600" b="1">
                <a:latin typeface="Verdana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86" name="Shape 226">
              <a:extLst>
                <a:ext uri="{FF2B5EF4-FFF2-40B4-BE49-F238E27FC236}">
                  <a16:creationId xmlns:a16="http://schemas.microsoft.com/office/drawing/2014/main" id="{70D21EAA-25E2-00E8-09D5-DB958B265781}"/>
                </a:ext>
              </a:extLst>
            </p:cNvPr>
            <p:cNvSpPr txBox="1"/>
            <p:nvPr/>
          </p:nvSpPr>
          <p:spPr>
            <a:xfrm>
              <a:off x="666547" y="4160863"/>
              <a:ext cx="1348863" cy="540000"/>
            </a:xfrm>
            <a:prstGeom prst="rect">
              <a:avLst/>
            </a:prstGeom>
            <a:noFill/>
            <a:ln>
              <a:noFill/>
            </a:ln>
          </p:spPr>
          <p:txBody>
            <a:bodyPr lIns="121900" tIns="60933" rIns="121900" bIns="60933" anchor="ctr" anchorCtr="0">
              <a:noAutofit/>
            </a:bodyPr>
            <a:lstStyle/>
            <a:p>
              <a:pPr algn="ctr">
                <a:lnSpc>
                  <a:spcPts val="1700"/>
                </a:lnSpc>
                <a:buSzPct val="25000"/>
              </a:pPr>
              <a:r>
                <a:rPr lang="es-CL" sz="1600" b="1"/>
                <a:t>Operadores </a:t>
              </a:r>
            </a:p>
            <a:p>
              <a:pPr algn="ctr">
                <a:lnSpc>
                  <a:spcPts val="1700"/>
                </a:lnSpc>
                <a:buSzPct val="25000"/>
              </a:pPr>
              <a:r>
                <a:rPr lang="es-CL" sz="1600" b="1"/>
                <a:t>de Buses</a:t>
              </a:r>
            </a:p>
          </p:txBody>
        </p:sp>
        <p:pic>
          <p:nvPicPr>
            <p:cNvPr id="87" name="Imagen 86">
              <a:extLst>
                <a:ext uri="{FF2B5EF4-FFF2-40B4-BE49-F238E27FC236}">
                  <a16:creationId xmlns:a16="http://schemas.microsoft.com/office/drawing/2014/main" id="{86ECA28D-589F-517F-2219-ED056B16B7E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122885" y="3687508"/>
              <a:ext cx="436186" cy="539174"/>
            </a:xfrm>
            <a:prstGeom prst="rect">
              <a:avLst/>
            </a:prstGeom>
          </p:spPr>
        </p:pic>
      </p:grpSp>
      <p:sp>
        <p:nvSpPr>
          <p:cNvPr id="88" name="Rectángulo 87">
            <a:extLst>
              <a:ext uri="{FF2B5EF4-FFF2-40B4-BE49-F238E27FC236}">
                <a16:creationId xmlns:a16="http://schemas.microsoft.com/office/drawing/2014/main" id="{71B784FB-3E2C-0B51-E968-85941BEE7E4E}"/>
              </a:ext>
            </a:extLst>
          </p:cNvPr>
          <p:cNvSpPr/>
          <p:nvPr/>
        </p:nvSpPr>
        <p:spPr>
          <a:xfrm>
            <a:off x="2198227" y="4160897"/>
            <a:ext cx="1789607" cy="4987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t"/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elación Contractual </a:t>
            </a:r>
            <a:br>
              <a:rPr kumimoji="0" lang="es-CL" sz="120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s-CL" sz="120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de Certificación del</a:t>
            </a:r>
            <a:r>
              <a:rPr kumimoji="0" lang="es-CL" sz="1200" i="1" u="none" strike="noStrike" kern="1200" cap="none" spc="0" normalizeH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 </a:t>
            </a:r>
            <a:r>
              <a:rPr kumimoji="0" lang="es-CL" sz="1200" i="1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Mantenimiento</a:t>
            </a:r>
          </a:p>
        </p:txBody>
      </p:sp>
      <p:sp>
        <p:nvSpPr>
          <p:cNvPr id="89" name="Rectángulo 88">
            <a:extLst>
              <a:ext uri="{FF2B5EF4-FFF2-40B4-BE49-F238E27FC236}">
                <a16:creationId xmlns:a16="http://schemas.microsoft.com/office/drawing/2014/main" id="{0767FABD-4A3C-26A3-0895-B7C4EB058AB5}"/>
              </a:ext>
            </a:extLst>
          </p:cNvPr>
          <p:cNvSpPr/>
          <p:nvPr/>
        </p:nvSpPr>
        <p:spPr>
          <a:xfrm>
            <a:off x="3867934" y="5320298"/>
            <a:ext cx="2160074" cy="538609"/>
          </a:xfrm>
          <a:prstGeom prst="rect">
            <a:avLst/>
          </a:prstGeom>
        </p:spPr>
        <p:txBody>
          <a:bodyPr wrap="square" lIns="36000" rIns="36000">
            <a:spAutoFit/>
          </a:bodyPr>
          <a:lstStyle/>
          <a:p>
            <a:pPr lvl="0" algn="ctr" defTabSz="914400">
              <a:spcAft>
                <a:spcPts val="600"/>
              </a:spcAft>
              <a:defRPr/>
            </a:pPr>
            <a:r>
              <a:rPr lang="es-CL" sz="1200" b="1" kern="0"/>
              <a:t>10 años </a:t>
            </a:r>
            <a:r>
              <a:rPr lang="es-CL" sz="1200" kern="0"/>
              <a:t>combustión interna</a:t>
            </a:r>
            <a:endParaRPr kumimoji="0" lang="es-CL" sz="12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CL" sz="12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</a:rPr>
              <a:t>14 años </a:t>
            </a:r>
            <a:r>
              <a:rPr kumimoji="0" lang="es-CL" sz="120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Calibri"/>
              </a:rPr>
              <a:t>Eléctrico</a:t>
            </a:r>
          </a:p>
        </p:txBody>
      </p:sp>
      <p:sp>
        <p:nvSpPr>
          <p:cNvPr id="90" name="Rectángulo 89">
            <a:extLst>
              <a:ext uri="{FF2B5EF4-FFF2-40B4-BE49-F238E27FC236}">
                <a16:creationId xmlns:a16="http://schemas.microsoft.com/office/drawing/2014/main" id="{D207C438-41E3-C756-007D-93820DD7A6A1}"/>
              </a:ext>
            </a:extLst>
          </p:cNvPr>
          <p:cNvSpPr/>
          <p:nvPr/>
        </p:nvSpPr>
        <p:spPr>
          <a:xfrm>
            <a:off x="227993" y="5179238"/>
            <a:ext cx="2451191" cy="110799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65125" indent="-182563">
              <a:spcAft>
                <a:spcPts val="600"/>
              </a:spcAft>
              <a:buFont typeface="Arial" charset="0"/>
              <a:buChar char="•"/>
            </a:pPr>
            <a:r>
              <a:rPr lang="es-MX" sz="1200" dirty="0">
                <a:cs typeface="Arial" panose="020B0604020202020204" pitchFamily="34" charset="0"/>
              </a:rPr>
              <a:t>US1, U4 y US6: 5 años</a:t>
            </a:r>
            <a:br>
              <a:rPr lang="es-MX" sz="1200" dirty="0">
                <a:cs typeface="Arial" panose="020B0604020202020204" pitchFamily="34" charset="0"/>
              </a:rPr>
            </a:br>
            <a:r>
              <a:rPr lang="es-MX" sz="1100" i="1" dirty="0">
                <a:cs typeface="Arial" panose="020B0604020202020204" pitchFamily="34" charset="0"/>
              </a:rPr>
              <a:t>&lt;50% FOB eléctrica</a:t>
            </a:r>
            <a:endParaRPr lang="es-MX" sz="1200" i="1" dirty="0">
              <a:cs typeface="Arial" panose="020B0604020202020204" pitchFamily="34" charset="0"/>
            </a:endParaRPr>
          </a:p>
          <a:p>
            <a:pPr marL="365125" indent="-182563">
              <a:buFont typeface="Arial" charset="0"/>
              <a:buChar char="•"/>
            </a:pPr>
            <a:r>
              <a:rPr lang="es-MX" sz="1200" dirty="0">
                <a:cs typeface="Arial" panose="020B0604020202020204" pitchFamily="34" charset="0"/>
              </a:rPr>
              <a:t>US2, US3 y US5: 7 años </a:t>
            </a:r>
            <a:br>
              <a:rPr lang="es-MX" sz="1200" dirty="0">
                <a:cs typeface="Arial" panose="020B0604020202020204" pitchFamily="34" charset="0"/>
              </a:rPr>
            </a:br>
            <a:r>
              <a:rPr lang="es-MX" sz="1100" i="1" dirty="0">
                <a:cs typeface="Arial" panose="020B0604020202020204" pitchFamily="34" charset="0"/>
              </a:rPr>
              <a:t>&gt;50% FOB eléctrica</a:t>
            </a:r>
          </a:p>
          <a:p>
            <a:pPr marL="365125" indent="-182563">
              <a:spcBef>
                <a:spcPts val="600"/>
              </a:spcBef>
              <a:buFont typeface="Arial" charset="0"/>
              <a:buChar char="•"/>
            </a:pPr>
            <a:r>
              <a:rPr lang="es-MX" sz="1200" dirty="0">
                <a:cs typeface="Arial" panose="020B0604020202020204" pitchFamily="34" charset="0"/>
              </a:rPr>
              <a:t>400 buses en promedio</a:t>
            </a:r>
            <a:endParaRPr lang="es-CL" sz="1200" dirty="0">
              <a:cs typeface="Arial" panose="020B0604020202020204" pitchFamily="34" charset="0"/>
            </a:endParaRPr>
          </a:p>
        </p:txBody>
      </p:sp>
      <p:sp>
        <p:nvSpPr>
          <p:cNvPr id="91" name="Rectángulo 90">
            <a:extLst>
              <a:ext uri="{FF2B5EF4-FFF2-40B4-BE49-F238E27FC236}">
                <a16:creationId xmlns:a16="http://schemas.microsoft.com/office/drawing/2014/main" id="{8D207B4A-527C-3711-39C9-592D4915A698}"/>
              </a:ext>
            </a:extLst>
          </p:cNvPr>
          <p:cNvSpPr/>
          <p:nvPr/>
        </p:nvSpPr>
        <p:spPr>
          <a:xfrm>
            <a:off x="174112" y="4707838"/>
            <a:ext cx="2366081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6578" tIns="26578" rIns="26578" bIns="26578" rtlCol="0" anchor="ctr">
            <a:noAutofit/>
          </a:bodyPr>
          <a:lstStyle/>
          <a:p>
            <a:pPr algn="ctr"/>
            <a:r>
              <a:rPr lang="es-MX" sz="14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Opera y mantiene </a:t>
            </a:r>
            <a:br>
              <a:rPr lang="es-MX" sz="14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</a:br>
            <a:r>
              <a:rPr lang="es-MX" sz="14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buses y terminales</a:t>
            </a:r>
          </a:p>
        </p:txBody>
      </p:sp>
      <p:sp>
        <p:nvSpPr>
          <p:cNvPr id="92" name="Rectángulo 91">
            <a:extLst>
              <a:ext uri="{FF2B5EF4-FFF2-40B4-BE49-F238E27FC236}">
                <a16:creationId xmlns:a16="http://schemas.microsoft.com/office/drawing/2014/main" id="{6717E3CC-3FF4-2233-64C9-C8C8B1F3FE37}"/>
              </a:ext>
            </a:extLst>
          </p:cNvPr>
          <p:cNvSpPr/>
          <p:nvPr/>
        </p:nvSpPr>
        <p:spPr>
          <a:xfrm>
            <a:off x="425713" y="6386111"/>
            <a:ext cx="1929631" cy="40011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s-CL" sz="2000" b="1">
                <a:solidFill>
                  <a:srgbClr val="4472C4"/>
                </a:solidFill>
                <a:latin typeface="Calibri"/>
                <a:cs typeface="Arial" charset="0"/>
              </a:rPr>
              <a:t>LICITACIÓN VÍAS</a:t>
            </a:r>
          </a:p>
        </p:txBody>
      </p:sp>
      <p:sp>
        <p:nvSpPr>
          <p:cNvPr id="93" name="Rectángulo 92">
            <a:extLst>
              <a:ext uri="{FF2B5EF4-FFF2-40B4-BE49-F238E27FC236}">
                <a16:creationId xmlns:a16="http://schemas.microsoft.com/office/drawing/2014/main" id="{3C0EAA68-B1D4-1D05-AA67-F50EB0BCC6D4}"/>
              </a:ext>
            </a:extLst>
          </p:cNvPr>
          <p:cNvSpPr/>
          <p:nvPr/>
        </p:nvSpPr>
        <p:spPr>
          <a:xfrm>
            <a:off x="3590458" y="6348332"/>
            <a:ext cx="2811090" cy="40011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/>
            <a:r>
              <a:rPr lang="es-CL" sz="2000" b="1">
                <a:solidFill>
                  <a:srgbClr val="F7941D"/>
                </a:solidFill>
                <a:latin typeface="Calibri"/>
                <a:cs typeface="Arial" charset="0"/>
              </a:rPr>
              <a:t>LICITACIÓN SUMINISTRO</a:t>
            </a:r>
          </a:p>
        </p:txBody>
      </p:sp>
      <p:sp>
        <p:nvSpPr>
          <p:cNvPr id="94" name="AutoShape 10">
            <a:extLst>
              <a:ext uri="{FF2B5EF4-FFF2-40B4-BE49-F238E27FC236}">
                <a16:creationId xmlns:a16="http://schemas.microsoft.com/office/drawing/2014/main" id="{A9D63705-9ECA-0765-2F86-5C5744CCCE38}"/>
              </a:ext>
            </a:extLst>
          </p:cNvPr>
          <p:cNvSpPr>
            <a:spLocks/>
          </p:cNvSpPr>
          <p:nvPr/>
        </p:nvSpPr>
        <p:spPr bwMode="auto">
          <a:xfrm rot="5400000">
            <a:off x="7471435" y="4598455"/>
            <a:ext cx="1080000" cy="207451"/>
          </a:xfrm>
          <a:prstGeom prst="roundRect">
            <a:avLst>
              <a:gd name="adj" fmla="val 50000"/>
            </a:avLst>
          </a:prstGeom>
          <a:solidFill>
            <a:srgbClr val="ED7D31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95" name="AutoShape 8">
            <a:extLst>
              <a:ext uri="{FF2B5EF4-FFF2-40B4-BE49-F238E27FC236}">
                <a16:creationId xmlns:a16="http://schemas.microsoft.com/office/drawing/2014/main" id="{2C49AB80-6860-EF1F-23A2-64D5A4091613}"/>
              </a:ext>
            </a:extLst>
          </p:cNvPr>
          <p:cNvSpPr>
            <a:spLocks/>
          </p:cNvSpPr>
          <p:nvPr/>
        </p:nvSpPr>
        <p:spPr bwMode="auto">
          <a:xfrm rot="5400000">
            <a:off x="7577483" y="5582070"/>
            <a:ext cx="864000" cy="215905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grpSp>
        <p:nvGrpSpPr>
          <p:cNvPr id="96" name="Group 63">
            <a:extLst>
              <a:ext uri="{FF2B5EF4-FFF2-40B4-BE49-F238E27FC236}">
                <a16:creationId xmlns:a16="http://schemas.microsoft.com/office/drawing/2014/main" id="{C5BEFDCC-0866-4DBA-80F6-D37AD69DF5E3}"/>
              </a:ext>
            </a:extLst>
          </p:cNvPr>
          <p:cNvGrpSpPr/>
          <p:nvPr/>
        </p:nvGrpSpPr>
        <p:grpSpPr>
          <a:xfrm>
            <a:off x="9335856" y="1905188"/>
            <a:ext cx="740760" cy="121889"/>
            <a:chOff x="2057400" y="2800350"/>
            <a:chExt cx="555570" cy="91440"/>
          </a:xfrm>
          <a:solidFill>
            <a:srgbClr val="A5A5A5"/>
          </a:solidFill>
        </p:grpSpPr>
        <p:sp>
          <p:nvSpPr>
            <p:cNvPr id="97" name="Oval 64">
              <a:extLst>
                <a:ext uri="{FF2B5EF4-FFF2-40B4-BE49-F238E27FC236}">
                  <a16:creationId xmlns:a16="http://schemas.microsoft.com/office/drawing/2014/main" id="{2AA92BA4-F5EB-A25F-EBF6-013BE94DCA1D}"/>
                </a:ext>
              </a:extLst>
            </p:cNvPr>
            <p:cNvSpPr/>
            <p:nvPr/>
          </p:nvSpPr>
          <p:spPr>
            <a:xfrm rot="5400000">
              <a:off x="2057400" y="2800350"/>
              <a:ext cx="91440" cy="91440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1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"/>
                <a:cs typeface=""/>
              </a:endParaRPr>
            </a:p>
          </p:txBody>
        </p:sp>
        <p:cxnSp>
          <p:nvCxnSpPr>
            <p:cNvPr id="98" name="Straight Connector 65">
              <a:extLst>
                <a:ext uri="{FF2B5EF4-FFF2-40B4-BE49-F238E27FC236}">
                  <a16:creationId xmlns:a16="http://schemas.microsoft.com/office/drawing/2014/main" id="{BA773F32-D677-0477-D3F1-357807CC4E60}"/>
                </a:ext>
              </a:extLst>
            </p:cNvPr>
            <p:cNvCxnSpPr>
              <a:cxnSpLocks/>
            </p:cNvCxnSpPr>
            <p:nvPr/>
          </p:nvCxnSpPr>
          <p:spPr>
            <a:xfrm rot="5400000" flipV="1">
              <a:off x="2392414" y="2634626"/>
              <a:ext cx="9111" cy="432000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sp>
        <p:nvSpPr>
          <p:cNvPr id="99" name="Rectangle 66">
            <a:extLst>
              <a:ext uri="{FF2B5EF4-FFF2-40B4-BE49-F238E27FC236}">
                <a16:creationId xmlns:a16="http://schemas.microsoft.com/office/drawing/2014/main" id="{06423C65-30B2-21FD-14C2-14409FBE96C1}"/>
              </a:ext>
            </a:extLst>
          </p:cNvPr>
          <p:cNvSpPr/>
          <p:nvPr/>
        </p:nvSpPr>
        <p:spPr>
          <a:xfrm>
            <a:off x="10641531" y="1818410"/>
            <a:ext cx="2004373" cy="295447"/>
          </a:xfrm>
          <a:prstGeom prst="rect">
            <a:avLst/>
          </a:prstGeom>
        </p:spPr>
        <p:txBody>
          <a:bodyPr wrap="square" lIns="109710" tIns="54855" rIns="109710" bIns="54855">
            <a:spAutoFit/>
          </a:bodyPr>
          <a:lstStyle/>
          <a:p>
            <a:pPr marL="0" marR="0" lvl="0" indent="0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PUBLICACIÓN</a:t>
            </a:r>
            <a:r>
              <a:rPr kumimoji="0" lang="en-US" sz="1200" b="0" i="1" u="none" strike="noStrike" kern="1200" cap="none" spc="0" normalizeH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 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BASES</a:t>
            </a:r>
          </a:p>
        </p:txBody>
      </p:sp>
      <p:sp>
        <p:nvSpPr>
          <p:cNvPr id="100" name="Rectangle 52">
            <a:extLst>
              <a:ext uri="{FF2B5EF4-FFF2-40B4-BE49-F238E27FC236}">
                <a16:creationId xmlns:a16="http://schemas.microsoft.com/office/drawing/2014/main" id="{5153BB34-0512-3A81-DF55-895447F83235}"/>
              </a:ext>
            </a:extLst>
          </p:cNvPr>
          <p:cNvSpPr/>
          <p:nvPr/>
        </p:nvSpPr>
        <p:spPr>
          <a:xfrm>
            <a:off x="10641531" y="3209832"/>
            <a:ext cx="1703384" cy="295447"/>
          </a:xfrm>
          <a:prstGeom prst="rect">
            <a:avLst/>
          </a:prstGeom>
        </p:spPr>
        <p:txBody>
          <a:bodyPr wrap="square" lIns="109710" tIns="54855" rIns="109710" bIns="54855">
            <a:spAutoFit/>
          </a:bodyPr>
          <a:lstStyle/>
          <a:p>
            <a:pPr marL="0" marR="0" lvl="0" indent="0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ENTREGA</a:t>
            </a:r>
            <a:r>
              <a:rPr kumimoji="0" lang="en-US" sz="1200" b="0" i="1" u="none" strike="noStrike" kern="1200" cap="none" spc="0" normalizeH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 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OFERTAS</a:t>
            </a:r>
          </a:p>
        </p:txBody>
      </p:sp>
      <p:sp>
        <p:nvSpPr>
          <p:cNvPr id="101" name="Rectangle 66">
            <a:extLst>
              <a:ext uri="{FF2B5EF4-FFF2-40B4-BE49-F238E27FC236}">
                <a16:creationId xmlns:a16="http://schemas.microsoft.com/office/drawing/2014/main" id="{048529CF-886D-020E-C0C2-C00080703C9D}"/>
              </a:ext>
            </a:extLst>
          </p:cNvPr>
          <p:cNvSpPr/>
          <p:nvPr/>
        </p:nvSpPr>
        <p:spPr>
          <a:xfrm>
            <a:off x="10641531" y="3968708"/>
            <a:ext cx="1198958" cy="295447"/>
          </a:xfrm>
          <a:prstGeom prst="rect">
            <a:avLst/>
          </a:prstGeom>
        </p:spPr>
        <p:txBody>
          <a:bodyPr wrap="square" lIns="109710" tIns="54855" rIns="109710" bIns="54855">
            <a:spAutoFit/>
          </a:bodyPr>
          <a:lstStyle/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DJUDICACIÓN</a:t>
            </a:r>
          </a:p>
        </p:txBody>
      </p:sp>
      <p:grpSp>
        <p:nvGrpSpPr>
          <p:cNvPr id="102" name="Group 43">
            <a:extLst>
              <a:ext uri="{FF2B5EF4-FFF2-40B4-BE49-F238E27FC236}">
                <a16:creationId xmlns:a16="http://schemas.microsoft.com/office/drawing/2014/main" id="{CF12408E-3C6C-C940-EAE9-2DA1EC830B01}"/>
              </a:ext>
            </a:extLst>
          </p:cNvPr>
          <p:cNvGrpSpPr/>
          <p:nvPr/>
        </p:nvGrpSpPr>
        <p:grpSpPr>
          <a:xfrm>
            <a:off x="9328769" y="6196014"/>
            <a:ext cx="697920" cy="121889"/>
            <a:chOff x="2057400" y="2800350"/>
            <a:chExt cx="523440" cy="91440"/>
          </a:xfrm>
        </p:grpSpPr>
        <p:sp>
          <p:nvSpPr>
            <p:cNvPr id="103" name="Oval 44">
              <a:extLst>
                <a:ext uri="{FF2B5EF4-FFF2-40B4-BE49-F238E27FC236}">
                  <a16:creationId xmlns:a16="http://schemas.microsoft.com/office/drawing/2014/main" id="{E2EA3B63-6896-C7AD-0532-FCC8A1A45F1A}"/>
                </a:ext>
              </a:extLst>
            </p:cNvPr>
            <p:cNvSpPr/>
            <p:nvPr/>
          </p:nvSpPr>
          <p:spPr>
            <a:xfrm rot="5400000">
              <a:off x="2057400" y="2800350"/>
              <a:ext cx="91440" cy="91440"/>
            </a:xfrm>
            <a:prstGeom prst="ellipse">
              <a:avLst/>
            </a:prstGeom>
            <a:solidFill>
              <a:srgbClr val="447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1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"/>
                <a:cs typeface=""/>
              </a:endParaRPr>
            </a:p>
          </p:txBody>
        </p:sp>
        <p:cxnSp>
          <p:nvCxnSpPr>
            <p:cNvPr id="104" name="Straight Connector 45">
              <a:extLst>
                <a:ext uri="{FF2B5EF4-FFF2-40B4-BE49-F238E27FC236}">
                  <a16:creationId xmlns:a16="http://schemas.microsoft.com/office/drawing/2014/main" id="{7EE5A864-5B91-2F87-B7DF-2400023FF6ED}"/>
                </a:ext>
              </a:extLst>
            </p:cNvPr>
            <p:cNvCxnSpPr/>
            <p:nvPr/>
          </p:nvCxnSpPr>
          <p:spPr>
            <a:xfrm flipV="1">
              <a:off x="2148840" y="2846070"/>
              <a:ext cx="432000" cy="0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sp>
        <p:nvSpPr>
          <p:cNvPr id="105" name="Rectangle 52">
            <a:extLst>
              <a:ext uri="{FF2B5EF4-FFF2-40B4-BE49-F238E27FC236}">
                <a16:creationId xmlns:a16="http://schemas.microsoft.com/office/drawing/2014/main" id="{4F82A29D-E436-636A-2A22-7836DC14C0BC}"/>
              </a:ext>
            </a:extLst>
          </p:cNvPr>
          <p:cNvSpPr/>
          <p:nvPr/>
        </p:nvSpPr>
        <p:spPr>
          <a:xfrm>
            <a:off x="10641531" y="5978297"/>
            <a:ext cx="1236777" cy="603224"/>
          </a:xfrm>
          <a:prstGeom prst="rect">
            <a:avLst/>
          </a:prstGeom>
        </p:spPr>
        <p:txBody>
          <a:bodyPr wrap="square" lIns="109710" tIns="54855" rIns="109710" bIns="54855">
            <a:spAutoFit/>
          </a:bodyPr>
          <a:lstStyle/>
          <a:p>
            <a:pPr marL="0" marR="0" lvl="0" indent="0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INICIO</a:t>
            </a:r>
          </a:p>
          <a:p>
            <a:pPr marL="0" marR="0" lvl="0" indent="0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OPERACIÓN</a:t>
            </a:r>
          </a:p>
        </p:txBody>
      </p:sp>
      <p:sp>
        <p:nvSpPr>
          <p:cNvPr id="106" name="AutoShape 8">
            <a:extLst>
              <a:ext uri="{FF2B5EF4-FFF2-40B4-BE49-F238E27FC236}">
                <a16:creationId xmlns:a16="http://schemas.microsoft.com/office/drawing/2014/main" id="{C0185C97-BD4D-7D54-0DC0-BB3F55B3F96F}"/>
              </a:ext>
            </a:extLst>
          </p:cNvPr>
          <p:cNvSpPr>
            <a:spLocks/>
          </p:cNvSpPr>
          <p:nvPr/>
        </p:nvSpPr>
        <p:spPr bwMode="auto">
          <a:xfrm rot="16200000" flipV="1">
            <a:off x="7767841" y="1548210"/>
            <a:ext cx="479669" cy="20880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07" name="AutoShape 59">
            <a:extLst>
              <a:ext uri="{FF2B5EF4-FFF2-40B4-BE49-F238E27FC236}">
                <a16:creationId xmlns:a16="http://schemas.microsoft.com/office/drawing/2014/main" id="{D33DD684-1FB9-FA8C-8322-A1BAE133F332}"/>
              </a:ext>
            </a:extLst>
          </p:cNvPr>
          <p:cNvSpPr>
            <a:spLocks/>
          </p:cNvSpPr>
          <p:nvPr/>
        </p:nvSpPr>
        <p:spPr bwMode="auto">
          <a:xfrm rot="5400000">
            <a:off x="8277648" y="1881180"/>
            <a:ext cx="249967" cy="16668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/>
        </p:spPr>
        <p:txBody>
          <a:bodyPr lIns="19046" tIns="19046" rIns="19046" bIns="19046" anchor="ctr"/>
          <a:lstStyle/>
          <a:p>
            <a:pPr marL="0" marR="0" lvl="0" indent="0" algn="l" defTabSz="228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08" name="Rectangle 66">
            <a:extLst>
              <a:ext uri="{FF2B5EF4-FFF2-40B4-BE49-F238E27FC236}">
                <a16:creationId xmlns:a16="http://schemas.microsoft.com/office/drawing/2014/main" id="{2A48F8A2-A157-271A-9D8A-16CA8D4F9156}"/>
              </a:ext>
            </a:extLst>
          </p:cNvPr>
          <p:cNvSpPr/>
          <p:nvPr/>
        </p:nvSpPr>
        <p:spPr>
          <a:xfrm>
            <a:off x="6327598" y="1809272"/>
            <a:ext cx="1453175" cy="295447"/>
          </a:xfrm>
          <a:prstGeom prst="rect">
            <a:avLst/>
          </a:prstGeom>
        </p:spPr>
        <p:txBody>
          <a:bodyPr wrap="square" lIns="109710" tIns="54855" rIns="109710" bIns="54855">
            <a:spAutoFit/>
          </a:bodyPr>
          <a:lstStyle/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all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ENTREGA</a:t>
            </a:r>
            <a:r>
              <a:rPr kumimoji="0" lang="en-US" sz="1200" b="0" i="1" u="none" strike="noStrike" kern="1200" cap="all" spc="0" normalizeH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 </a:t>
            </a:r>
            <a:r>
              <a:rPr kumimoji="0" lang="en-US" sz="1200" b="0" i="1" u="none" strike="noStrike" kern="1200" cap="all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OFERTAS</a:t>
            </a:r>
          </a:p>
        </p:txBody>
      </p:sp>
      <p:grpSp>
        <p:nvGrpSpPr>
          <p:cNvPr id="109" name="Group 68">
            <a:extLst>
              <a:ext uri="{FF2B5EF4-FFF2-40B4-BE49-F238E27FC236}">
                <a16:creationId xmlns:a16="http://schemas.microsoft.com/office/drawing/2014/main" id="{307BB156-3732-AD73-47BF-EF6627D9A9E6}"/>
              </a:ext>
            </a:extLst>
          </p:cNvPr>
          <p:cNvGrpSpPr/>
          <p:nvPr/>
        </p:nvGrpSpPr>
        <p:grpSpPr>
          <a:xfrm rot="10800000">
            <a:off x="8512619" y="1903682"/>
            <a:ext cx="697920" cy="121889"/>
            <a:chOff x="2057400" y="2800350"/>
            <a:chExt cx="523440" cy="91440"/>
          </a:xfrm>
        </p:grpSpPr>
        <p:sp>
          <p:nvSpPr>
            <p:cNvPr id="110" name="Oval 69">
              <a:extLst>
                <a:ext uri="{FF2B5EF4-FFF2-40B4-BE49-F238E27FC236}">
                  <a16:creationId xmlns:a16="http://schemas.microsoft.com/office/drawing/2014/main" id="{76038106-2DB3-567D-E56A-429664ADDDAC}"/>
                </a:ext>
              </a:extLst>
            </p:cNvPr>
            <p:cNvSpPr/>
            <p:nvPr/>
          </p:nvSpPr>
          <p:spPr>
            <a:xfrm rot="5400000">
              <a:off x="2057400" y="2800350"/>
              <a:ext cx="91440" cy="91440"/>
            </a:xfrm>
            <a:prstGeom prst="ellipse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1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"/>
                <a:cs typeface=""/>
              </a:endParaRPr>
            </a:p>
          </p:txBody>
        </p:sp>
        <p:cxnSp>
          <p:nvCxnSpPr>
            <p:cNvPr id="111" name="Straight Connector 70">
              <a:extLst>
                <a:ext uri="{FF2B5EF4-FFF2-40B4-BE49-F238E27FC236}">
                  <a16:creationId xmlns:a16="http://schemas.microsoft.com/office/drawing/2014/main" id="{D738ED56-64A6-8853-BEAB-0D26A3B47858}"/>
                </a:ext>
              </a:extLst>
            </p:cNvPr>
            <p:cNvCxnSpPr/>
            <p:nvPr/>
          </p:nvCxnSpPr>
          <p:spPr>
            <a:xfrm flipV="1">
              <a:off x="2148840" y="2846070"/>
              <a:ext cx="432000" cy="0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sp>
        <p:nvSpPr>
          <p:cNvPr id="112" name="AutoShape 8">
            <a:extLst>
              <a:ext uri="{FF2B5EF4-FFF2-40B4-BE49-F238E27FC236}">
                <a16:creationId xmlns:a16="http://schemas.microsoft.com/office/drawing/2014/main" id="{8DEF9541-2747-9B25-CCDE-12D57406AC80}"/>
              </a:ext>
            </a:extLst>
          </p:cNvPr>
          <p:cNvSpPr>
            <a:spLocks/>
          </p:cNvSpPr>
          <p:nvPr/>
        </p:nvSpPr>
        <p:spPr bwMode="auto">
          <a:xfrm rot="5400000">
            <a:off x="6954672" y="3626082"/>
            <a:ext cx="2124000" cy="209381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13" name="AutoShape 10">
            <a:extLst>
              <a:ext uri="{FF2B5EF4-FFF2-40B4-BE49-F238E27FC236}">
                <a16:creationId xmlns:a16="http://schemas.microsoft.com/office/drawing/2014/main" id="{FB3C938E-F3F7-9DE7-6C4E-46A445E22736}"/>
              </a:ext>
            </a:extLst>
          </p:cNvPr>
          <p:cNvSpPr>
            <a:spLocks/>
          </p:cNvSpPr>
          <p:nvPr/>
        </p:nvSpPr>
        <p:spPr bwMode="auto">
          <a:xfrm rot="5400000">
            <a:off x="7682419" y="2284472"/>
            <a:ext cx="648000" cy="207452"/>
          </a:xfrm>
          <a:prstGeom prst="roundRect">
            <a:avLst>
              <a:gd name="adj" fmla="val 50000"/>
            </a:avLst>
          </a:prstGeom>
          <a:solidFill>
            <a:srgbClr val="ED7D31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grpSp>
        <p:nvGrpSpPr>
          <p:cNvPr id="114" name="Group 86">
            <a:extLst>
              <a:ext uri="{FF2B5EF4-FFF2-40B4-BE49-F238E27FC236}">
                <a16:creationId xmlns:a16="http://schemas.microsoft.com/office/drawing/2014/main" id="{A7E5DC9C-DB65-D8C3-3E53-1E9787D3DA90}"/>
              </a:ext>
            </a:extLst>
          </p:cNvPr>
          <p:cNvGrpSpPr/>
          <p:nvPr/>
        </p:nvGrpSpPr>
        <p:grpSpPr>
          <a:xfrm rot="5400000">
            <a:off x="7766199" y="2473964"/>
            <a:ext cx="480094" cy="480218"/>
            <a:chOff x="7222994" y="6982392"/>
            <a:chExt cx="960187" cy="960436"/>
          </a:xfrm>
        </p:grpSpPr>
        <p:sp>
          <p:nvSpPr>
            <p:cNvPr id="115" name="AutoShape 19">
              <a:extLst>
                <a:ext uri="{FF2B5EF4-FFF2-40B4-BE49-F238E27FC236}">
                  <a16:creationId xmlns:a16="http://schemas.microsoft.com/office/drawing/2014/main" id="{7A5E8D81-29D3-3772-8CF0-162338414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2994" y="6982392"/>
              <a:ext cx="960187" cy="960436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rgbClr val="ED7D31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  <p:sp>
          <p:nvSpPr>
            <p:cNvPr id="116" name="AutoShape 20">
              <a:extLst>
                <a:ext uri="{FF2B5EF4-FFF2-40B4-BE49-F238E27FC236}">
                  <a16:creationId xmlns:a16="http://schemas.microsoft.com/office/drawing/2014/main" id="{356AB365-6561-63B9-F7F5-E5284269D5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6033" y="7255500"/>
              <a:ext cx="414109" cy="414214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9" y="6724"/>
                    <a:pt x="20639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ysClr val="window" lastClr="FFFFFF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sp>
        <p:nvSpPr>
          <p:cNvPr id="117" name="AutoShape 60">
            <a:extLst>
              <a:ext uri="{FF2B5EF4-FFF2-40B4-BE49-F238E27FC236}">
                <a16:creationId xmlns:a16="http://schemas.microsoft.com/office/drawing/2014/main" id="{2DF3BE06-A5A3-9613-2D5F-3B32901A81F6}"/>
              </a:ext>
            </a:extLst>
          </p:cNvPr>
          <p:cNvSpPr>
            <a:spLocks/>
          </p:cNvSpPr>
          <p:nvPr/>
        </p:nvSpPr>
        <p:spPr bwMode="auto">
          <a:xfrm rot="5400000">
            <a:off x="8276523" y="2631925"/>
            <a:ext cx="249967" cy="16668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rgbClr val="ED7D31"/>
          </a:solidFill>
          <a:ln>
            <a:noFill/>
          </a:ln>
          <a:effectLst/>
        </p:spPr>
        <p:txBody>
          <a:bodyPr lIns="19046" tIns="19046" rIns="19046" bIns="19046" anchor="ctr"/>
          <a:lstStyle/>
          <a:p>
            <a:pPr marL="0" marR="0" lvl="0" indent="0" algn="l" defTabSz="228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18" name="Rectangle 52">
            <a:extLst>
              <a:ext uri="{FF2B5EF4-FFF2-40B4-BE49-F238E27FC236}">
                <a16:creationId xmlns:a16="http://schemas.microsoft.com/office/drawing/2014/main" id="{BB35325C-FA76-ED4F-E233-02C898DD57E1}"/>
              </a:ext>
            </a:extLst>
          </p:cNvPr>
          <p:cNvSpPr/>
          <p:nvPr/>
        </p:nvSpPr>
        <p:spPr>
          <a:xfrm>
            <a:off x="6609207" y="2565724"/>
            <a:ext cx="1171566" cy="295447"/>
          </a:xfrm>
          <a:prstGeom prst="rect">
            <a:avLst/>
          </a:prstGeom>
        </p:spPr>
        <p:txBody>
          <a:bodyPr wrap="square" lIns="109710" tIns="54855" rIns="109710" bIns="54855">
            <a:spAutoFit/>
          </a:bodyPr>
          <a:lstStyle/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ADJUDICACIÓN</a:t>
            </a:r>
          </a:p>
        </p:txBody>
      </p:sp>
      <p:sp>
        <p:nvSpPr>
          <p:cNvPr id="119" name="Rectangle 66">
            <a:extLst>
              <a:ext uri="{FF2B5EF4-FFF2-40B4-BE49-F238E27FC236}">
                <a16:creationId xmlns:a16="http://schemas.microsoft.com/office/drawing/2014/main" id="{74BD0B5D-A726-2B63-C246-F13BBCCED3AE}"/>
              </a:ext>
            </a:extLst>
          </p:cNvPr>
          <p:cNvSpPr/>
          <p:nvPr/>
        </p:nvSpPr>
        <p:spPr>
          <a:xfrm>
            <a:off x="6235792" y="4585935"/>
            <a:ext cx="1539234" cy="295447"/>
          </a:xfrm>
          <a:prstGeom prst="rect">
            <a:avLst/>
          </a:prstGeom>
        </p:spPr>
        <p:txBody>
          <a:bodyPr wrap="square" lIns="109710" tIns="54855" rIns="109710" bIns="54855">
            <a:spAutoFit/>
          </a:bodyPr>
          <a:lstStyle/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all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COMPRA</a:t>
            </a:r>
            <a:r>
              <a:rPr kumimoji="0" lang="en-US" sz="1200" b="0" i="1" u="none" strike="noStrike" kern="1200" cap="all" spc="0" normalizeH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 </a:t>
            </a:r>
            <a:r>
              <a:rPr kumimoji="0" lang="en-US" sz="1200" b="0" i="1" u="none" strike="noStrike" kern="1200" cap="all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BUSES</a:t>
            </a:r>
          </a:p>
        </p:txBody>
      </p:sp>
      <p:sp>
        <p:nvSpPr>
          <p:cNvPr id="120" name="Rounded Rectangle 150">
            <a:extLst>
              <a:ext uri="{FF2B5EF4-FFF2-40B4-BE49-F238E27FC236}">
                <a16:creationId xmlns:a16="http://schemas.microsoft.com/office/drawing/2014/main" id="{17E34FE1-99D9-D4CD-2BDF-F5B7ED67EB85}"/>
              </a:ext>
            </a:extLst>
          </p:cNvPr>
          <p:cNvSpPr/>
          <p:nvPr/>
        </p:nvSpPr>
        <p:spPr bwMode="auto">
          <a:xfrm>
            <a:off x="7313060" y="977352"/>
            <a:ext cx="1368000" cy="350846"/>
          </a:xfrm>
          <a:prstGeom prst="roundRect">
            <a:avLst>
              <a:gd name="adj" fmla="val 10008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>
                <a:ln>
                  <a:noFill/>
                </a:ln>
                <a:solidFill>
                  <a:srgbClr val="F7941D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Suministro</a:t>
            </a:r>
          </a:p>
        </p:txBody>
      </p:sp>
      <p:sp>
        <p:nvSpPr>
          <p:cNvPr id="121" name="AutoShape 59">
            <a:extLst>
              <a:ext uri="{FF2B5EF4-FFF2-40B4-BE49-F238E27FC236}">
                <a16:creationId xmlns:a16="http://schemas.microsoft.com/office/drawing/2014/main" id="{36B3E4D0-BA0F-A858-3445-C8B6C771B024}"/>
              </a:ext>
            </a:extLst>
          </p:cNvPr>
          <p:cNvSpPr>
            <a:spLocks/>
          </p:cNvSpPr>
          <p:nvPr/>
        </p:nvSpPr>
        <p:spPr bwMode="auto">
          <a:xfrm rot="5400000">
            <a:off x="8267337" y="4640898"/>
            <a:ext cx="249967" cy="16668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/>
        </p:spPr>
        <p:txBody>
          <a:bodyPr lIns="19046" tIns="19046" rIns="19046" bIns="19046" anchor="ctr"/>
          <a:lstStyle/>
          <a:p>
            <a:pPr marL="0" marR="0" lvl="0" indent="0" algn="l" defTabSz="228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grpSp>
        <p:nvGrpSpPr>
          <p:cNvPr id="122" name="Group 88">
            <a:extLst>
              <a:ext uri="{FF2B5EF4-FFF2-40B4-BE49-F238E27FC236}">
                <a16:creationId xmlns:a16="http://schemas.microsoft.com/office/drawing/2014/main" id="{F2A23919-A89C-E8DB-3ED9-AF04C12182CF}"/>
              </a:ext>
            </a:extLst>
          </p:cNvPr>
          <p:cNvGrpSpPr/>
          <p:nvPr/>
        </p:nvGrpSpPr>
        <p:grpSpPr>
          <a:xfrm rot="5400000">
            <a:off x="7757013" y="4478789"/>
            <a:ext cx="480094" cy="480218"/>
            <a:chOff x="17184419" y="6982392"/>
            <a:chExt cx="960187" cy="960436"/>
          </a:xfrm>
        </p:grpSpPr>
        <p:sp>
          <p:nvSpPr>
            <p:cNvPr id="123" name="AutoShape 16">
              <a:extLst>
                <a:ext uri="{FF2B5EF4-FFF2-40B4-BE49-F238E27FC236}">
                  <a16:creationId xmlns:a16="http://schemas.microsoft.com/office/drawing/2014/main" id="{04493ED6-AC09-D91D-7B6C-F88435007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4419" y="6982392"/>
              <a:ext cx="960187" cy="960436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rgbClr val="FFC000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  <p:sp>
          <p:nvSpPr>
            <p:cNvPr id="124" name="AutoShape 17">
              <a:extLst>
                <a:ext uri="{FF2B5EF4-FFF2-40B4-BE49-F238E27FC236}">
                  <a16:creationId xmlns:a16="http://schemas.microsoft.com/office/drawing/2014/main" id="{48D7B965-BAB5-F80C-D272-DC3C0E21A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57458" y="7255500"/>
              <a:ext cx="414109" cy="414214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9" y="6724"/>
                    <a:pt x="20639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ysClr val="window" lastClr="FFFFFF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cxnSp>
        <p:nvCxnSpPr>
          <p:cNvPr id="125" name="Straight Connector 70">
            <a:extLst>
              <a:ext uri="{FF2B5EF4-FFF2-40B4-BE49-F238E27FC236}">
                <a16:creationId xmlns:a16="http://schemas.microsoft.com/office/drawing/2014/main" id="{349CF69D-D3F5-BBF1-8565-D6D29DE598A2}"/>
              </a:ext>
            </a:extLst>
          </p:cNvPr>
          <p:cNvCxnSpPr>
            <a:cxnSpLocks/>
            <a:stCxn id="138" idx="2"/>
            <a:endCxn id="153" idx="2"/>
          </p:cNvCxnSpPr>
          <p:nvPr/>
        </p:nvCxnSpPr>
        <p:spPr>
          <a:xfrm rot="16200000" flipH="1">
            <a:off x="9021779" y="2903900"/>
            <a:ext cx="505337" cy="246867"/>
          </a:xfrm>
          <a:prstGeom prst="bentConnector3">
            <a:avLst>
              <a:gd name="adj1" fmla="val 50000"/>
            </a:avLst>
          </a:prstGeom>
          <a:noFill/>
          <a:ln w="50800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cxnSp>
        <p:nvCxnSpPr>
          <p:cNvPr id="126" name="Straight Connector 70">
            <a:extLst>
              <a:ext uri="{FF2B5EF4-FFF2-40B4-BE49-F238E27FC236}">
                <a16:creationId xmlns:a16="http://schemas.microsoft.com/office/drawing/2014/main" id="{149C31B4-6780-AA02-60BE-9A1EDF8E5B35}"/>
              </a:ext>
            </a:extLst>
          </p:cNvPr>
          <p:cNvCxnSpPr>
            <a:cxnSpLocks/>
            <a:stCxn id="128" idx="6"/>
            <a:endCxn id="141" idx="6"/>
          </p:cNvCxnSpPr>
          <p:nvPr/>
        </p:nvCxnSpPr>
        <p:spPr>
          <a:xfrm rot="5400000">
            <a:off x="9010975" y="4286745"/>
            <a:ext cx="506218" cy="247094"/>
          </a:xfrm>
          <a:prstGeom prst="bentConnector3">
            <a:avLst>
              <a:gd name="adj1" fmla="val 50000"/>
            </a:avLst>
          </a:prstGeom>
          <a:noFill/>
          <a:ln w="50800" cap="flat" cmpd="sng" algn="ctr">
            <a:solidFill>
              <a:schemeClr val="accent4">
                <a:lumMod val="60000"/>
                <a:lumOff val="40000"/>
              </a:schemeClr>
            </a:solidFill>
            <a:prstDash val="solid"/>
            <a:round/>
            <a:headEnd type="none"/>
            <a:tailEnd type="none"/>
          </a:ln>
          <a:effectLst/>
        </p:spPr>
      </p:cxnSp>
      <p:grpSp>
        <p:nvGrpSpPr>
          <p:cNvPr id="127" name="Group 63">
            <a:extLst>
              <a:ext uri="{FF2B5EF4-FFF2-40B4-BE49-F238E27FC236}">
                <a16:creationId xmlns:a16="http://schemas.microsoft.com/office/drawing/2014/main" id="{72DDAC5E-40BC-1014-915B-616FC1A79FFF}"/>
              </a:ext>
            </a:extLst>
          </p:cNvPr>
          <p:cNvGrpSpPr/>
          <p:nvPr/>
        </p:nvGrpSpPr>
        <p:grpSpPr>
          <a:xfrm>
            <a:off x="9326670" y="4035293"/>
            <a:ext cx="697920" cy="121889"/>
            <a:chOff x="2057400" y="2800350"/>
            <a:chExt cx="523440" cy="91440"/>
          </a:xfrm>
          <a:solidFill>
            <a:srgbClr val="A5A5A5"/>
          </a:solidFill>
        </p:grpSpPr>
        <p:sp>
          <p:nvSpPr>
            <p:cNvPr id="128" name="Oval 64">
              <a:extLst>
                <a:ext uri="{FF2B5EF4-FFF2-40B4-BE49-F238E27FC236}">
                  <a16:creationId xmlns:a16="http://schemas.microsoft.com/office/drawing/2014/main" id="{2FDBBF91-3D7D-1E2D-F200-CA5E0A1958C3}"/>
                </a:ext>
              </a:extLst>
            </p:cNvPr>
            <p:cNvSpPr/>
            <p:nvPr/>
          </p:nvSpPr>
          <p:spPr>
            <a:xfrm rot="5400000">
              <a:off x="2057400" y="2800350"/>
              <a:ext cx="91440" cy="91440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1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"/>
                <a:cs typeface=""/>
              </a:endParaRPr>
            </a:p>
          </p:txBody>
        </p:sp>
        <p:cxnSp>
          <p:nvCxnSpPr>
            <p:cNvPr id="129" name="Straight Connector 65">
              <a:extLst>
                <a:ext uri="{FF2B5EF4-FFF2-40B4-BE49-F238E27FC236}">
                  <a16:creationId xmlns:a16="http://schemas.microsoft.com/office/drawing/2014/main" id="{87A78D87-EC01-CE11-957F-7DE184C1738E}"/>
                </a:ext>
              </a:extLst>
            </p:cNvPr>
            <p:cNvCxnSpPr/>
            <p:nvPr/>
          </p:nvCxnSpPr>
          <p:spPr>
            <a:xfrm flipV="1">
              <a:off x="2148840" y="2846070"/>
              <a:ext cx="432000" cy="0"/>
            </a:xfrm>
            <a:prstGeom prst="line">
              <a:avLst/>
            </a:prstGeom>
            <a:grp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sp>
        <p:nvSpPr>
          <p:cNvPr id="130" name="AutoShape 59">
            <a:extLst>
              <a:ext uri="{FF2B5EF4-FFF2-40B4-BE49-F238E27FC236}">
                <a16:creationId xmlns:a16="http://schemas.microsoft.com/office/drawing/2014/main" id="{F9180732-3C55-C01D-22F4-2B56FE53C4A5}"/>
              </a:ext>
            </a:extLst>
          </p:cNvPr>
          <p:cNvSpPr>
            <a:spLocks/>
          </p:cNvSpPr>
          <p:nvPr/>
        </p:nvSpPr>
        <p:spPr bwMode="auto">
          <a:xfrm rot="5400000">
            <a:off x="8281883" y="5888799"/>
            <a:ext cx="249967" cy="16668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/>
        </p:spPr>
        <p:txBody>
          <a:bodyPr lIns="19046" tIns="19046" rIns="19046" bIns="19046" anchor="ctr"/>
          <a:lstStyle/>
          <a:p>
            <a:pPr marL="0" marR="0" lvl="0" indent="0" algn="l" defTabSz="228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grpSp>
        <p:nvGrpSpPr>
          <p:cNvPr id="131" name="Group 68">
            <a:extLst>
              <a:ext uri="{FF2B5EF4-FFF2-40B4-BE49-F238E27FC236}">
                <a16:creationId xmlns:a16="http://schemas.microsoft.com/office/drawing/2014/main" id="{36469805-18BF-B68E-E228-C39890736B4F}"/>
              </a:ext>
            </a:extLst>
          </p:cNvPr>
          <p:cNvGrpSpPr/>
          <p:nvPr/>
        </p:nvGrpSpPr>
        <p:grpSpPr>
          <a:xfrm rot="10800000">
            <a:off x="8518122" y="5911301"/>
            <a:ext cx="697920" cy="121889"/>
            <a:chOff x="2057400" y="2800350"/>
            <a:chExt cx="523440" cy="91440"/>
          </a:xfrm>
        </p:grpSpPr>
        <p:sp>
          <p:nvSpPr>
            <p:cNvPr id="132" name="Oval 69">
              <a:extLst>
                <a:ext uri="{FF2B5EF4-FFF2-40B4-BE49-F238E27FC236}">
                  <a16:creationId xmlns:a16="http://schemas.microsoft.com/office/drawing/2014/main" id="{B99CFA09-717B-0694-82C4-DB4DFDAD3D39}"/>
                </a:ext>
              </a:extLst>
            </p:cNvPr>
            <p:cNvSpPr/>
            <p:nvPr/>
          </p:nvSpPr>
          <p:spPr>
            <a:xfrm rot="5400000">
              <a:off x="2057400" y="2800350"/>
              <a:ext cx="91440" cy="91440"/>
            </a:xfrm>
            <a:prstGeom prst="ellipse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1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"/>
                <a:cs typeface=""/>
              </a:endParaRPr>
            </a:p>
          </p:txBody>
        </p:sp>
        <p:cxnSp>
          <p:nvCxnSpPr>
            <p:cNvPr id="133" name="Straight Connector 70">
              <a:extLst>
                <a:ext uri="{FF2B5EF4-FFF2-40B4-BE49-F238E27FC236}">
                  <a16:creationId xmlns:a16="http://schemas.microsoft.com/office/drawing/2014/main" id="{9489E93A-D059-F0D7-3180-B3130B6C3A98}"/>
                </a:ext>
              </a:extLst>
            </p:cNvPr>
            <p:cNvCxnSpPr/>
            <p:nvPr/>
          </p:nvCxnSpPr>
          <p:spPr>
            <a:xfrm flipV="1">
              <a:off x="2148840" y="2846070"/>
              <a:ext cx="432000" cy="0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grpSp>
        <p:nvGrpSpPr>
          <p:cNvPr id="134" name="Group 88">
            <a:extLst>
              <a:ext uri="{FF2B5EF4-FFF2-40B4-BE49-F238E27FC236}">
                <a16:creationId xmlns:a16="http://schemas.microsoft.com/office/drawing/2014/main" id="{C478D120-24DA-2F46-60D7-A36380893589}"/>
              </a:ext>
            </a:extLst>
          </p:cNvPr>
          <p:cNvGrpSpPr/>
          <p:nvPr/>
        </p:nvGrpSpPr>
        <p:grpSpPr>
          <a:xfrm rot="5400000">
            <a:off x="7771559" y="5726690"/>
            <a:ext cx="480094" cy="480218"/>
            <a:chOff x="17184419" y="6982392"/>
            <a:chExt cx="960187" cy="960436"/>
          </a:xfrm>
        </p:grpSpPr>
        <p:sp>
          <p:nvSpPr>
            <p:cNvPr id="135" name="AutoShape 16">
              <a:extLst>
                <a:ext uri="{FF2B5EF4-FFF2-40B4-BE49-F238E27FC236}">
                  <a16:creationId xmlns:a16="http://schemas.microsoft.com/office/drawing/2014/main" id="{6BDAF4F6-2CC0-7AB3-DF4E-14AFE2B0B3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4419" y="6982392"/>
              <a:ext cx="960187" cy="960436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rgbClr val="FFC000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  <p:sp>
          <p:nvSpPr>
            <p:cNvPr id="136" name="AutoShape 17">
              <a:extLst>
                <a:ext uri="{FF2B5EF4-FFF2-40B4-BE49-F238E27FC236}">
                  <a16:creationId xmlns:a16="http://schemas.microsoft.com/office/drawing/2014/main" id="{769D5F90-630C-E499-E71D-FD1315FEE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57458" y="7255500"/>
              <a:ext cx="414109" cy="414214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9" y="6724"/>
                    <a:pt x="20639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ysClr val="window" lastClr="FFFFFF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grpSp>
        <p:nvGrpSpPr>
          <p:cNvPr id="137" name="Group 68">
            <a:extLst>
              <a:ext uri="{FF2B5EF4-FFF2-40B4-BE49-F238E27FC236}">
                <a16:creationId xmlns:a16="http://schemas.microsoft.com/office/drawing/2014/main" id="{54B92D7C-2DBE-B77B-FEF7-174446102CD2}"/>
              </a:ext>
            </a:extLst>
          </p:cNvPr>
          <p:cNvGrpSpPr/>
          <p:nvPr/>
        </p:nvGrpSpPr>
        <p:grpSpPr>
          <a:xfrm rot="10800000">
            <a:off x="8514053" y="2652776"/>
            <a:ext cx="697920" cy="121889"/>
            <a:chOff x="2057400" y="2800350"/>
            <a:chExt cx="523440" cy="91440"/>
          </a:xfrm>
        </p:grpSpPr>
        <p:sp>
          <p:nvSpPr>
            <p:cNvPr id="138" name="Oval 69">
              <a:extLst>
                <a:ext uri="{FF2B5EF4-FFF2-40B4-BE49-F238E27FC236}">
                  <a16:creationId xmlns:a16="http://schemas.microsoft.com/office/drawing/2014/main" id="{8F534DDF-AC82-A1FA-65BD-6A387603ADD7}"/>
                </a:ext>
              </a:extLst>
            </p:cNvPr>
            <p:cNvSpPr/>
            <p:nvPr/>
          </p:nvSpPr>
          <p:spPr>
            <a:xfrm rot="5400000">
              <a:off x="2057400" y="2800350"/>
              <a:ext cx="91440" cy="91440"/>
            </a:xfrm>
            <a:prstGeom prst="ellipse">
              <a:avLst/>
            </a:prstGeom>
            <a:solidFill>
              <a:srgbClr val="F7941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1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"/>
                <a:cs typeface=""/>
              </a:endParaRPr>
            </a:p>
          </p:txBody>
        </p:sp>
        <p:cxnSp>
          <p:nvCxnSpPr>
            <p:cNvPr id="139" name="Straight Connector 70">
              <a:extLst>
                <a:ext uri="{FF2B5EF4-FFF2-40B4-BE49-F238E27FC236}">
                  <a16:creationId xmlns:a16="http://schemas.microsoft.com/office/drawing/2014/main" id="{CC0C1B89-C781-88B6-4A09-803232B95E90}"/>
                </a:ext>
              </a:extLst>
            </p:cNvPr>
            <p:cNvCxnSpPr/>
            <p:nvPr/>
          </p:nvCxnSpPr>
          <p:spPr>
            <a:xfrm flipV="1">
              <a:off x="2148840" y="2846068"/>
              <a:ext cx="432000" cy="0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grpSp>
        <p:nvGrpSpPr>
          <p:cNvPr id="140" name="Group 68">
            <a:extLst>
              <a:ext uri="{FF2B5EF4-FFF2-40B4-BE49-F238E27FC236}">
                <a16:creationId xmlns:a16="http://schemas.microsoft.com/office/drawing/2014/main" id="{163A8853-962F-E0AC-753C-DED7D2993F0B}"/>
              </a:ext>
            </a:extLst>
          </p:cNvPr>
          <p:cNvGrpSpPr/>
          <p:nvPr/>
        </p:nvGrpSpPr>
        <p:grpSpPr>
          <a:xfrm rot="10800000">
            <a:off x="8503576" y="4663400"/>
            <a:ext cx="697920" cy="121889"/>
            <a:chOff x="2057400" y="2800350"/>
            <a:chExt cx="523440" cy="91440"/>
          </a:xfrm>
        </p:grpSpPr>
        <p:sp>
          <p:nvSpPr>
            <p:cNvPr id="141" name="Oval 69">
              <a:extLst>
                <a:ext uri="{FF2B5EF4-FFF2-40B4-BE49-F238E27FC236}">
                  <a16:creationId xmlns:a16="http://schemas.microsoft.com/office/drawing/2014/main" id="{A38C1CF8-2B55-2B1F-840E-60DC98467D13}"/>
                </a:ext>
              </a:extLst>
            </p:cNvPr>
            <p:cNvSpPr/>
            <p:nvPr/>
          </p:nvSpPr>
          <p:spPr>
            <a:xfrm rot="5400000">
              <a:off x="2057400" y="2800350"/>
              <a:ext cx="91440" cy="91440"/>
            </a:xfrm>
            <a:prstGeom prst="ellipse">
              <a:avLst/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1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"/>
                <a:cs typeface=""/>
              </a:endParaRPr>
            </a:p>
          </p:txBody>
        </p:sp>
        <p:cxnSp>
          <p:nvCxnSpPr>
            <p:cNvPr id="142" name="Straight Connector 70">
              <a:extLst>
                <a:ext uri="{FF2B5EF4-FFF2-40B4-BE49-F238E27FC236}">
                  <a16:creationId xmlns:a16="http://schemas.microsoft.com/office/drawing/2014/main" id="{D4664245-8BA8-ACD1-57FC-65386CCC5308}"/>
                </a:ext>
              </a:extLst>
            </p:cNvPr>
            <p:cNvCxnSpPr/>
            <p:nvPr/>
          </p:nvCxnSpPr>
          <p:spPr>
            <a:xfrm flipV="1">
              <a:off x="2148840" y="2846070"/>
              <a:ext cx="432000" cy="0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sp>
        <p:nvSpPr>
          <p:cNvPr id="143" name="TextBox 67">
            <a:extLst>
              <a:ext uri="{FF2B5EF4-FFF2-40B4-BE49-F238E27FC236}">
                <a16:creationId xmlns:a16="http://schemas.microsoft.com/office/drawing/2014/main" id="{E530379D-92AC-0F46-6127-22E029464E17}"/>
              </a:ext>
            </a:extLst>
          </p:cNvPr>
          <p:cNvSpPr txBox="1"/>
          <p:nvPr/>
        </p:nvSpPr>
        <p:spPr>
          <a:xfrm>
            <a:off x="8455894" y="3944194"/>
            <a:ext cx="1006548" cy="473894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ORDEN DE</a:t>
            </a:r>
          </a:p>
          <a:p>
            <a:pPr marL="0" marR="0" lvl="0" indent="0" algn="l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SUMINISTRO</a:t>
            </a:r>
          </a:p>
        </p:txBody>
      </p:sp>
      <p:sp>
        <p:nvSpPr>
          <p:cNvPr id="144" name="Rectangle 52">
            <a:extLst>
              <a:ext uri="{FF2B5EF4-FFF2-40B4-BE49-F238E27FC236}">
                <a16:creationId xmlns:a16="http://schemas.microsoft.com/office/drawing/2014/main" id="{2D2A80A3-C521-A8FA-6C2D-A0043937C7F5}"/>
              </a:ext>
            </a:extLst>
          </p:cNvPr>
          <p:cNvSpPr/>
          <p:nvPr/>
        </p:nvSpPr>
        <p:spPr>
          <a:xfrm>
            <a:off x="6569081" y="5788519"/>
            <a:ext cx="1212154" cy="480113"/>
          </a:xfrm>
          <a:prstGeom prst="rect">
            <a:avLst/>
          </a:prstGeom>
        </p:spPr>
        <p:txBody>
          <a:bodyPr wrap="square" lIns="109710" tIns="54855" rIns="109710" bIns="54855">
            <a:spAutoFit/>
          </a:bodyPr>
          <a:lstStyle/>
          <a:p>
            <a:pPr marL="0" marR="0" lvl="0" indent="0" algn="r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all" spc="0" normalizeH="0" baseline="0" noProof="0" err="1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Entrega</a:t>
            </a:r>
            <a:r>
              <a:rPr kumimoji="0" lang="en-US" sz="1200" b="0" i="1" u="none" strike="noStrike" kern="1200" cap="all" spc="0" normalizeH="0" baseline="0" noProof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 de BUSES</a:t>
            </a:r>
          </a:p>
        </p:txBody>
      </p:sp>
      <p:grpSp>
        <p:nvGrpSpPr>
          <p:cNvPr id="145" name="Group 86">
            <a:extLst>
              <a:ext uri="{FF2B5EF4-FFF2-40B4-BE49-F238E27FC236}">
                <a16:creationId xmlns:a16="http://schemas.microsoft.com/office/drawing/2014/main" id="{4BD206B9-932E-5828-4377-50B467F199EC}"/>
              </a:ext>
            </a:extLst>
          </p:cNvPr>
          <p:cNvGrpSpPr/>
          <p:nvPr/>
        </p:nvGrpSpPr>
        <p:grpSpPr>
          <a:xfrm rot="5400000">
            <a:off x="7771214" y="5114708"/>
            <a:ext cx="480094" cy="480218"/>
            <a:chOff x="7222994" y="6982392"/>
            <a:chExt cx="960187" cy="960436"/>
          </a:xfrm>
        </p:grpSpPr>
        <p:sp>
          <p:nvSpPr>
            <p:cNvPr id="146" name="AutoShape 19">
              <a:extLst>
                <a:ext uri="{FF2B5EF4-FFF2-40B4-BE49-F238E27FC236}">
                  <a16:creationId xmlns:a16="http://schemas.microsoft.com/office/drawing/2014/main" id="{FACFBCBC-607C-93E6-1AD2-27ADDCDD7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2994" y="6982392"/>
              <a:ext cx="960187" cy="960436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rgbClr val="ED7D31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  <p:sp>
          <p:nvSpPr>
            <p:cNvPr id="147" name="AutoShape 20">
              <a:extLst>
                <a:ext uri="{FF2B5EF4-FFF2-40B4-BE49-F238E27FC236}">
                  <a16:creationId xmlns:a16="http://schemas.microsoft.com/office/drawing/2014/main" id="{6D8351BB-F2A8-ED31-13DB-DC5C41C98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6033" y="7255500"/>
              <a:ext cx="414109" cy="414214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9" y="6724"/>
                    <a:pt x="20639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ysClr val="window" lastClr="FFFFFF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sp>
        <p:nvSpPr>
          <p:cNvPr id="148" name="AutoShape 60">
            <a:extLst>
              <a:ext uri="{FF2B5EF4-FFF2-40B4-BE49-F238E27FC236}">
                <a16:creationId xmlns:a16="http://schemas.microsoft.com/office/drawing/2014/main" id="{026A72F3-1CAC-10C9-9EA9-29FE107265EB}"/>
              </a:ext>
            </a:extLst>
          </p:cNvPr>
          <p:cNvSpPr>
            <a:spLocks/>
          </p:cNvSpPr>
          <p:nvPr/>
        </p:nvSpPr>
        <p:spPr bwMode="auto">
          <a:xfrm rot="5400000">
            <a:off x="8281538" y="5272669"/>
            <a:ext cx="249967" cy="16668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rgbClr val="ED7D31"/>
          </a:solidFill>
          <a:ln>
            <a:noFill/>
          </a:ln>
          <a:effectLst/>
        </p:spPr>
        <p:txBody>
          <a:bodyPr lIns="19046" tIns="19046" rIns="19046" bIns="19046" anchor="ctr"/>
          <a:lstStyle/>
          <a:p>
            <a:pPr marL="0" marR="0" lvl="0" indent="0" algn="l" defTabSz="228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grpSp>
        <p:nvGrpSpPr>
          <p:cNvPr id="149" name="Group 71">
            <a:extLst>
              <a:ext uri="{FF2B5EF4-FFF2-40B4-BE49-F238E27FC236}">
                <a16:creationId xmlns:a16="http://schemas.microsoft.com/office/drawing/2014/main" id="{5A4E51BA-7B74-660C-B074-F3079B4F5491}"/>
              </a:ext>
            </a:extLst>
          </p:cNvPr>
          <p:cNvGrpSpPr/>
          <p:nvPr/>
        </p:nvGrpSpPr>
        <p:grpSpPr>
          <a:xfrm rot="10800000">
            <a:off x="8517778" y="5286861"/>
            <a:ext cx="697920" cy="121889"/>
            <a:chOff x="2057400" y="2800350"/>
            <a:chExt cx="523440" cy="91440"/>
          </a:xfrm>
        </p:grpSpPr>
        <p:sp>
          <p:nvSpPr>
            <p:cNvPr id="150" name="Oval 72">
              <a:extLst>
                <a:ext uri="{FF2B5EF4-FFF2-40B4-BE49-F238E27FC236}">
                  <a16:creationId xmlns:a16="http://schemas.microsoft.com/office/drawing/2014/main" id="{A6219811-E5CC-E055-BF47-6BCB6E166DAB}"/>
                </a:ext>
              </a:extLst>
            </p:cNvPr>
            <p:cNvSpPr/>
            <p:nvPr/>
          </p:nvSpPr>
          <p:spPr>
            <a:xfrm rot="5400000">
              <a:off x="2057400" y="2800350"/>
              <a:ext cx="91440" cy="91440"/>
            </a:xfrm>
            <a:prstGeom prst="ellipse">
              <a:avLst/>
            </a:prstGeom>
            <a:solidFill>
              <a:srgbClr val="ED7D3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1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"/>
                <a:cs typeface=""/>
              </a:endParaRPr>
            </a:p>
          </p:txBody>
        </p:sp>
        <p:cxnSp>
          <p:nvCxnSpPr>
            <p:cNvPr id="151" name="Straight Connector 73">
              <a:extLst>
                <a:ext uri="{FF2B5EF4-FFF2-40B4-BE49-F238E27FC236}">
                  <a16:creationId xmlns:a16="http://schemas.microsoft.com/office/drawing/2014/main" id="{0CD68007-EA56-1016-F434-97872ED3C7FF}"/>
                </a:ext>
              </a:extLst>
            </p:cNvPr>
            <p:cNvCxnSpPr/>
            <p:nvPr/>
          </p:nvCxnSpPr>
          <p:spPr>
            <a:xfrm flipV="1">
              <a:off x="2148840" y="2846070"/>
              <a:ext cx="432000" cy="0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grpSp>
        <p:nvGrpSpPr>
          <p:cNvPr id="152" name="Group 43">
            <a:extLst>
              <a:ext uri="{FF2B5EF4-FFF2-40B4-BE49-F238E27FC236}">
                <a16:creationId xmlns:a16="http://schemas.microsoft.com/office/drawing/2014/main" id="{6F837BCD-1A25-7F87-6438-4C5149D8BFB8}"/>
              </a:ext>
            </a:extLst>
          </p:cNvPr>
          <p:cNvGrpSpPr/>
          <p:nvPr/>
        </p:nvGrpSpPr>
        <p:grpSpPr>
          <a:xfrm>
            <a:off x="9336920" y="3280002"/>
            <a:ext cx="697920" cy="121889"/>
            <a:chOff x="2057400" y="2800350"/>
            <a:chExt cx="523440" cy="91440"/>
          </a:xfrm>
        </p:grpSpPr>
        <p:sp>
          <p:nvSpPr>
            <p:cNvPr id="153" name="Oval 44">
              <a:extLst>
                <a:ext uri="{FF2B5EF4-FFF2-40B4-BE49-F238E27FC236}">
                  <a16:creationId xmlns:a16="http://schemas.microsoft.com/office/drawing/2014/main" id="{94F0A62B-86D5-E405-2EAB-A05675E9F933}"/>
                </a:ext>
              </a:extLst>
            </p:cNvPr>
            <p:cNvSpPr/>
            <p:nvPr/>
          </p:nvSpPr>
          <p:spPr>
            <a:xfrm rot="5400000">
              <a:off x="2057400" y="2800350"/>
              <a:ext cx="91440" cy="91440"/>
            </a:xfrm>
            <a:prstGeom prst="ellipse">
              <a:avLst/>
            </a:prstGeom>
            <a:solidFill>
              <a:srgbClr val="4472C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1" anchor="ctr"/>
            <a:lstStyle/>
            <a:p>
              <a:pPr marL="0" marR="0" lvl="0" indent="0" algn="ctr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x-none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"/>
                <a:cs typeface=""/>
              </a:endParaRPr>
            </a:p>
          </p:txBody>
        </p:sp>
        <p:cxnSp>
          <p:nvCxnSpPr>
            <p:cNvPr id="154" name="Straight Connector 45">
              <a:extLst>
                <a:ext uri="{FF2B5EF4-FFF2-40B4-BE49-F238E27FC236}">
                  <a16:creationId xmlns:a16="http://schemas.microsoft.com/office/drawing/2014/main" id="{069B9025-6538-801E-C769-FD61B028BD3B}"/>
                </a:ext>
              </a:extLst>
            </p:cNvPr>
            <p:cNvCxnSpPr/>
            <p:nvPr/>
          </p:nvCxnSpPr>
          <p:spPr>
            <a:xfrm flipV="1">
              <a:off x="2148840" y="2846070"/>
              <a:ext cx="432000" cy="0"/>
            </a:xfrm>
            <a:prstGeom prst="line">
              <a:avLst/>
            </a:prstGeom>
            <a:noFill/>
            <a:ln w="12700" cap="flat" cmpd="sng" algn="ctr">
              <a:solidFill>
                <a:sysClr val="window" lastClr="FFFFFF">
                  <a:lumMod val="85000"/>
                </a:sysClr>
              </a:solidFill>
              <a:prstDash val="dash"/>
              <a:miter lim="800000"/>
            </a:ln>
            <a:effectLst/>
          </p:spPr>
        </p:cxnSp>
      </p:grpSp>
      <p:grpSp>
        <p:nvGrpSpPr>
          <p:cNvPr id="155" name="Group 88">
            <a:extLst>
              <a:ext uri="{FF2B5EF4-FFF2-40B4-BE49-F238E27FC236}">
                <a16:creationId xmlns:a16="http://schemas.microsoft.com/office/drawing/2014/main" id="{A87ADCB1-DBB0-B989-392C-EAC9F8F91BCA}"/>
              </a:ext>
            </a:extLst>
          </p:cNvPr>
          <p:cNvGrpSpPr/>
          <p:nvPr/>
        </p:nvGrpSpPr>
        <p:grpSpPr>
          <a:xfrm rot="5400000">
            <a:off x="7766199" y="1719071"/>
            <a:ext cx="480094" cy="480218"/>
            <a:chOff x="17184419" y="6982392"/>
            <a:chExt cx="960187" cy="960436"/>
          </a:xfrm>
        </p:grpSpPr>
        <p:sp>
          <p:nvSpPr>
            <p:cNvPr id="156" name="AutoShape 16">
              <a:extLst>
                <a:ext uri="{FF2B5EF4-FFF2-40B4-BE49-F238E27FC236}">
                  <a16:creationId xmlns:a16="http://schemas.microsoft.com/office/drawing/2014/main" id="{520D9E0F-7E71-D71F-7AF6-EC9F2F1769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84419" y="6982392"/>
              <a:ext cx="960187" cy="960436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rgbClr val="FFC000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  <p:sp>
          <p:nvSpPr>
            <p:cNvPr id="157" name="AutoShape 17">
              <a:extLst>
                <a:ext uri="{FF2B5EF4-FFF2-40B4-BE49-F238E27FC236}">
                  <a16:creationId xmlns:a16="http://schemas.microsoft.com/office/drawing/2014/main" id="{19BCD590-D29C-BEAC-26CC-9FF2DCC7B9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57458" y="7255500"/>
              <a:ext cx="414109" cy="414214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9" y="6724"/>
                    <a:pt x="20639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ysClr val="window" lastClr="FFFFFF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sp>
        <p:nvSpPr>
          <p:cNvPr id="158" name="Rounded Rectangle 150">
            <a:extLst>
              <a:ext uri="{FF2B5EF4-FFF2-40B4-BE49-F238E27FC236}">
                <a16:creationId xmlns:a16="http://schemas.microsoft.com/office/drawing/2014/main" id="{5171D6D1-C0A7-1DEC-7BCB-659BE85FF370}"/>
              </a:ext>
            </a:extLst>
          </p:cNvPr>
          <p:cNvSpPr/>
          <p:nvPr/>
        </p:nvSpPr>
        <p:spPr bwMode="auto">
          <a:xfrm>
            <a:off x="9706685" y="977353"/>
            <a:ext cx="1368000" cy="350845"/>
          </a:xfrm>
          <a:prstGeom prst="roundRect">
            <a:avLst>
              <a:gd name="adj" fmla="val 10008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0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/>
                <a:ea typeface="Arial" charset="0"/>
                <a:cs typeface="Arial" charset="0"/>
              </a:rPr>
              <a:t>Operación</a:t>
            </a:r>
          </a:p>
        </p:txBody>
      </p:sp>
      <p:sp>
        <p:nvSpPr>
          <p:cNvPr id="159" name="AutoShape 9">
            <a:extLst>
              <a:ext uri="{FF2B5EF4-FFF2-40B4-BE49-F238E27FC236}">
                <a16:creationId xmlns:a16="http://schemas.microsoft.com/office/drawing/2014/main" id="{3F6D4942-9CA4-FA64-5008-0BECC2270B7C}"/>
              </a:ext>
            </a:extLst>
          </p:cNvPr>
          <p:cNvSpPr>
            <a:spLocks/>
          </p:cNvSpPr>
          <p:nvPr/>
        </p:nvSpPr>
        <p:spPr bwMode="auto">
          <a:xfrm rot="5400000">
            <a:off x="9463197" y="2559523"/>
            <a:ext cx="1944000" cy="208800"/>
          </a:xfrm>
          <a:prstGeom prst="roundRect">
            <a:avLst>
              <a:gd name="adj" fmla="val 50000"/>
            </a:avLst>
          </a:prstGeom>
          <a:solidFill>
            <a:srgbClr val="4472C4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+mn-cs"/>
              <a:sym typeface="Gill Sans" charset="0"/>
            </a:endParaRPr>
          </a:p>
        </p:txBody>
      </p:sp>
      <p:sp>
        <p:nvSpPr>
          <p:cNvPr id="160" name="AutoShape 11">
            <a:extLst>
              <a:ext uri="{FF2B5EF4-FFF2-40B4-BE49-F238E27FC236}">
                <a16:creationId xmlns:a16="http://schemas.microsoft.com/office/drawing/2014/main" id="{6ED940AC-2167-060B-F0D2-94E8E77520BE}"/>
              </a:ext>
            </a:extLst>
          </p:cNvPr>
          <p:cNvSpPr>
            <a:spLocks/>
          </p:cNvSpPr>
          <p:nvPr/>
        </p:nvSpPr>
        <p:spPr bwMode="auto">
          <a:xfrm rot="5400000">
            <a:off x="10090296" y="1652164"/>
            <a:ext cx="687578" cy="208800"/>
          </a:xfrm>
          <a:prstGeom prst="roundRect">
            <a:avLst>
              <a:gd name="adj" fmla="val 50000"/>
            </a:avLst>
          </a:prstGeom>
          <a:solidFill>
            <a:srgbClr val="A5A5A5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+mn-cs"/>
              <a:sym typeface="Gill Sans" charset="0"/>
            </a:endParaRPr>
          </a:p>
        </p:txBody>
      </p:sp>
      <p:grpSp>
        <p:nvGrpSpPr>
          <p:cNvPr id="161" name="Group 87">
            <a:extLst>
              <a:ext uri="{FF2B5EF4-FFF2-40B4-BE49-F238E27FC236}">
                <a16:creationId xmlns:a16="http://schemas.microsoft.com/office/drawing/2014/main" id="{01876937-40BD-DF5C-3A83-EADC25C8E976}"/>
              </a:ext>
            </a:extLst>
          </p:cNvPr>
          <p:cNvGrpSpPr/>
          <p:nvPr/>
        </p:nvGrpSpPr>
        <p:grpSpPr>
          <a:xfrm rot="5400000">
            <a:off x="10196221" y="1737712"/>
            <a:ext cx="478955" cy="480218"/>
            <a:chOff x="12255091" y="6982392"/>
            <a:chExt cx="957910" cy="960436"/>
          </a:xfrm>
        </p:grpSpPr>
        <p:sp>
          <p:nvSpPr>
            <p:cNvPr id="162" name="AutoShape 28">
              <a:extLst>
                <a:ext uri="{FF2B5EF4-FFF2-40B4-BE49-F238E27FC236}">
                  <a16:creationId xmlns:a16="http://schemas.microsoft.com/office/drawing/2014/main" id="{95999777-510E-884A-2550-4BB302FB6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55091" y="6982392"/>
              <a:ext cx="957910" cy="960436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rgbClr val="A5A5A5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  <p:sp>
          <p:nvSpPr>
            <p:cNvPr id="163" name="AutoShape 29">
              <a:extLst>
                <a:ext uri="{FF2B5EF4-FFF2-40B4-BE49-F238E27FC236}">
                  <a16:creationId xmlns:a16="http://schemas.microsoft.com/office/drawing/2014/main" id="{D745DCFA-658D-8A12-486E-AA6DF901A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5854" y="7255500"/>
              <a:ext cx="416385" cy="414214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9" y="6724"/>
                    <a:pt x="20639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ysClr val="window" lastClr="FFFFFF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sp>
        <p:nvSpPr>
          <p:cNvPr id="164" name="AutoShape 55">
            <a:extLst>
              <a:ext uri="{FF2B5EF4-FFF2-40B4-BE49-F238E27FC236}">
                <a16:creationId xmlns:a16="http://schemas.microsoft.com/office/drawing/2014/main" id="{BA4F80DB-28E8-CB50-A5F7-06C2EFC7D459}"/>
              </a:ext>
            </a:extLst>
          </p:cNvPr>
          <p:cNvSpPr>
            <a:spLocks/>
          </p:cNvSpPr>
          <p:nvPr/>
        </p:nvSpPr>
        <p:spPr bwMode="auto">
          <a:xfrm rot="16200000">
            <a:off x="9923454" y="1889334"/>
            <a:ext cx="249967" cy="16668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rgbClr val="A5A5A5"/>
          </a:solidFill>
          <a:ln>
            <a:noFill/>
          </a:ln>
          <a:effectLst/>
        </p:spPr>
        <p:txBody>
          <a:bodyPr lIns="19046" tIns="19046" rIns="19046" bIns="19046" anchor="ctr"/>
          <a:lstStyle/>
          <a:p>
            <a:pPr marL="0" marR="0" lvl="0" indent="0" algn="l" defTabSz="228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65" name="AutoShape 9">
            <a:extLst>
              <a:ext uri="{FF2B5EF4-FFF2-40B4-BE49-F238E27FC236}">
                <a16:creationId xmlns:a16="http://schemas.microsoft.com/office/drawing/2014/main" id="{6DA8ECA1-9DB7-22F5-255B-6167D8677AEB}"/>
              </a:ext>
            </a:extLst>
          </p:cNvPr>
          <p:cNvSpPr>
            <a:spLocks/>
          </p:cNvSpPr>
          <p:nvPr/>
        </p:nvSpPr>
        <p:spPr bwMode="auto">
          <a:xfrm rot="5400000">
            <a:off x="9314565" y="5052630"/>
            <a:ext cx="2232000" cy="201760"/>
          </a:xfrm>
          <a:prstGeom prst="roundRect">
            <a:avLst>
              <a:gd name="adj" fmla="val 50000"/>
            </a:avLst>
          </a:prstGeom>
          <a:solidFill>
            <a:srgbClr val="4472C4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+mn-cs"/>
              <a:sym typeface="Gill Sans" charset="0"/>
            </a:endParaRPr>
          </a:p>
        </p:txBody>
      </p:sp>
      <p:sp>
        <p:nvSpPr>
          <p:cNvPr id="166" name="AutoShape 11">
            <a:extLst>
              <a:ext uri="{FF2B5EF4-FFF2-40B4-BE49-F238E27FC236}">
                <a16:creationId xmlns:a16="http://schemas.microsoft.com/office/drawing/2014/main" id="{A46F612C-48BC-C716-1F66-8B7FDE2DCF9F}"/>
              </a:ext>
            </a:extLst>
          </p:cNvPr>
          <p:cNvSpPr>
            <a:spLocks/>
          </p:cNvSpPr>
          <p:nvPr/>
        </p:nvSpPr>
        <p:spPr bwMode="auto">
          <a:xfrm rot="16200000" flipV="1">
            <a:off x="9940686" y="3742531"/>
            <a:ext cx="972000" cy="207451"/>
          </a:xfrm>
          <a:prstGeom prst="roundRect">
            <a:avLst>
              <a:gd name="adj" fmla="val 50000"/>
            </a:avLst>
          </a:prstGeom>
          <a:solidFill>
            <a:srgbClr val="A5A5A5"/>
          </a:solidFill>
          <a:ln w="25400" cap="flat" cmpd="sng">
            <a:solidFill>
              <a:srgbClr val="000000">
                <a:alpha val="0"/>
              </a:srgbClr>
            </a:solidFill>
            <a:prstDash val="solid"/>
            <a:miter lim="0"/>
            <a:headEnd/>
            <a:tailEnd/>
          </a:ln>
          <a:effectLst/>
        </p:spPr>
        <p:txBody>
          <a:bodyPr lIns="0" tIns="0" rIns="0" bIns="0" anchor="ctr"/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2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+mn-cs"/>
              <a:sym typeface="Gill Sans" charset="0"/>
            </a:endParaRPr>
          </a:p>
        </p:txBody>
      </p:sp>
      <p:grpSp>
        <p:nvGrpSpPr>
          <p:cNvPr id="167" name="Group 85">
            <a:extLst>
              <a:ext uri="{FF2B5EF4-FFF2-40B4-BE49-F238E27FC236}">
                <a16:creationId xmlns:a16="http://schemas.microsoft.com/office/drawing/2014/main" id="{7B06561E-924A-45DD-872D-B3ABB6D2E5DA}"/>
              </a:ext>
            </a:extLst>
          </p:cNvPr>
          <p:cNvGrpSpPr/>
          <p:nvPr/>
        </p:nvGrpSpPr>
        <p:grpSpPr>
          <a:xfrm rot="5400000">
            <a:off x="10195651" y="3101372"/>
            <a:ext cx="480094" cy="480218"/>
            <a:chOff x="2255370" y="6982392"/>
            <a:chExt cx="960187" cy="960436"/>
          </a:xfrm>
        </p:grpSpPr>
        <p:sp>
          <p:nvSpPr>
            <p:cNvPr id="168" name="AutoShape 13">
              <a:extLst>
                <a:ext uri="{FF2B5EF4-FFF2-40B4-BE49-F238E27FC236}">
                  <a16:creationId xmlns:a16="http://schemas.microsoft.com/office/drawing/2014/main" id="{0BE71423-5CBA-A4B6-31EB-28A3AC53F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370" y="6982392"/>
              <a:ext cx="960187" cy="960436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rgbClr val="4472C4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  <p:sp>
          <p:nvSpPr>
            <p:cNvPr id="169" name="AutoShape 14">
              <a:extLst>
                <a:ext uri="{FF2B5EF4-FFF2-40B4-BE49-F238E27FC236}">
                  <a16:creationId xmlns:a16="http://schemas.microsoft.com/office/drawing/2014/main" id="{7D93C9C9-0BD9-521F-4AD3-BCBAC0398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0688" y="7255500"/>
              <a:ext cx="414109" cy="414214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9" y="6724"/>
                    <a:pt x="20639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ysClr val="window" lastClr="FFFFFF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grpSp>
        <p:nvGrpSpPr>
          <p:cNvPr id="170" name="Group 87">
            <a:extLst>
              <a:ext uri="{FF2B5EF4-FFF2-40B4-BE49-F238E27FC236}">
                <a16:creationId xmlns:a16="http://schemas.microsoft.com/office/drawing/2014/main" id="{78966F69-CA80-0C18-71D7-A33070872631}"/>
              </a:ext>
            </a:extLst>
          </p:cNvPr>
          <p:cNvGrpSpPr/>
          <p:nvPr/>
        </p:nvGrpSpPr>
        <p:grpSpPr>
          <a:xfrm rot="5400000">
            <a:off x="10187035" y="3867818"/>
            <a:ext cx="478955" cy="480218"/>
            <a:chOff x="12255091" y="6982392"/>
            <a:chExt cx="957910" cy="960436"/>
          </a:xfrm>
        </p:grpSpPr>
        <p:sp>
          <p:nvSpPr>
            <p:cNvPr id="171" name="AutoShape 28">
              <a:extLst>
                <a:ext uri="{FF2B5EF4-FFF2-40B4-BE49-F238E27FC236}">
                  <a16:creationId xmlns:a16="http://schemas.microsoft.com/office/drawing/2014/main" id="{ACBC981C-7974-DE1A-A6D8-1C6A93E92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55091" y="6982392"/>
              <a:ext cx="957910" cy="960436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rgbClr val="A5A5A5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  <p:sp>
          <p:nvSpPr>
            <p:cNvPr id="172" name="AutoShape 29">
              <a:extLst>
                <a:ext uri="{FF2B5EF4-FFF2-40B4-BE49-F238E27FC236}">
                  <a16:creationId xmlns:a16="http://schemas.microsoft.com/office/drawing/2014/main" id="{51484C6D-5332-211C-872F-12D2BF6B32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25854" y="7255500"/>
              <a:ext cx="416385" cy="414214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9" y="6724"/>
                    <a:pt x="20639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ysClr val="window" lastClr="FFFFFF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sp>
        <p:nvSpPr>
          <p:cNvPr id="173" name="AutoShape 54">
            <a:extLst>
              <a:ext uri="{FF2B5EF4-FFF2-40B4-BE49-F238E27FC236}">
                <a16:creationId xmlns:a16="http://schemas.microsoft.com/office/drawing/2014/main" id="{6F93F966-7174-47AC-5794-BB0AB04F33D9}"/>
              </a:ext>
            </a:extLst>
          </p:cNvPr>
          <p:cNvSpPr>
            <a:spLocks/>
          </p:cNvSpPr>
          <p:nvPr/>
        </p:nvSpPr>
        <p:spPr bwMode="auto">
          <a:xfrm rot="16200000">
            <a:off x="9923851" y="3258420"/>
            <a:ext cx="249173" cy="16668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rgbClr val="4472C4"/>
          </a:solidFill>
          <a:ln>
            <a:noFill/>
          </a:ln>
          <a:effectLst/>
        </p:spPr>
        <p:txBody>
          <a:bodyPr lIns="19046" tIns="19046" rIns="19046" bIns="19046" anchor="ctr"/>
          <a:lstStyle/>
          <a:p>
            <a:pPr marL="0" marR="0" lvl="0" indent="0" algn="l" defTabSz="228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sp>
        <p:nvSpPr>
          <p:cNvPr id="174" name="AutoShape 55">
            <a:extLst>
              <a:ext uri="{FF2B5EF4-FFF2-40B4-BE49-F238E27FC236}">
                <a16:creationId xmlns:a16="http://schemas.microsoft.com/office/drawing/2014/main" id="{F5B0CE6D-12D5-9D6D-689C-7FF7BCDADABA}"/>
              </a:ext>
            </a:extLst>
          </p:cNvPr>
          <p:cNvSpPr>
            <a:spLocks/>
          </p:cNvSpPr>
          <p:nvPr/>
        </p:nvSpPr>
        <p:spPr bwMode="auto">
          <a:xfrm rot="16200000">
            <a:off x="9914268" y="4019440"/>
            <a:ext cx="249967" cy="16668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rgbClr val="A5A5A5"/>
          </a:solidFill>
          <a:ln>
            <a:noFill/>
          </a:ln>
          <a:effectLst/>
        </p:spPr>
        <p:txBody>
          <a:bodyPr lIns="19046" tIns="19046" rIns="19046" bIns="19046" anchor="ctr"/>
          <a:lstStyle/>
          <a:p>
            <a:pPr marL="0" marR="0" lvl="0" indent="0" algn="l" defTabSz="228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grpSp>
        <p:nvGrpSpPr>
          <p:cNvPr id="175" name="Group 85">
            <a:extLst>
              <a:ext uri="{FF2B5EF4-FFF2-40B4-BE49-F238E27FC236}">
                <a16:creationId xmlns:a16="http://schemas.microsoft.com/office/drawing/2014/main" id="{6B43A2DA-FE8A-0299-5315-047B50E27D9A}"/>
              </a:ext>
            </a:extLst>
          </p:cNvPr>
          <p:cNvGrpSpPr/>
          <p:nvPr/>
        </p:nvGrpSpPr>
        <p:grpSpPr>
          <a:xfrm rot="5400000">
            <a:off x="10187500" y="6017384"/>
            <a:ext cx="480094" cy="480218"/>
            <a:chOff x="2255370" y="6982392"/>
            <a:chExt cx="960187" cy="960436"/>
          </a:xfrm>
        </p:grpSpPr>
        <p:sp>
          <p:nvSpPr>
            <p:cNvPr id="176" name="AutoShape 13">
              <a:extLst>
                <a:ext uri="{FF2B5EF4-FFF2-40B4-BE49-F238E27FC236}">
                  <a16:creationId xmlns:a16="http://schemas.microsoft.com/office/drawing/2014/main" id="{D71C11D1-0194-F70A-1A83-F3257D6D0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5370" y="6982392"/>
              <a:ext cx="960187" cy="960436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8" y="6724"/>
                    <a:pt x="20638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rgbClr val="4472C4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  <p:sp>
          <p:nvSpPr>
            <p:cNvPr id="177" name="AutoShape 14">
              <a:extLst>
                <a:ext uri="{FF2B5EF4-FFF2-40B4-BE49-F238E27FC236}">
                  <a16:creationId xmlns:a16="http://schemas.microsoft.com/office/drawing/2014/main" id="{D087894A-3768-91DF-00B0-7B61B358EF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0688" y="7255500"/>
              <a:ext cx="414109" cy="414214"/>
            </a:xfrm>
            <a:custGeom>
              <a:avLst/>
              <a:gdLst>
                <a:gd name="T0" fmla="+- 0 10800 961"/>
                <a:gd name="T1" fmla="*/ T0 w 19679"/>
                <a:gd name="T2" fmla="+- 0 10800 961"/>
                <a:gd name="T3" fmla="*/ 10800 h 19679"/>
                <a:gd name="T4" fmla="+- 0 10800 961"/>
                <a:gd name="T5" fmla="*/ T4 w 19679"/>
                <a:gd name="T6" fmla="+- 0 10800 961"/>
                <a:gd name="T7" fmla="*/ 10800 h 19679"/>
                <a:gd name="T8" fmla="+- 0 10800 961"/>
                <a:gd name="T9" fmla="*/ T8 w 19679"/>
                <a:gd name="T10" fmla="+- 0 10800 961"/>
                <a:gd name="T11" fmla="*/ 10800 h 19679"/>
                <a:gd name="T12" fmla="+- 0 10800 961"/>
                <a:gd name="T13" fmla="*/ T12 w 19679"/>
                <a:gd name="T14" fmla="+- 0 10800 961"/>
                <a:gd name="T15" fmla="*/ 10800 h 19679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79" h="19679">
                  <a:moveTo>
                    <a:pt x="16796" y="2881"/>
                  </a:moveTo>
                  <a:cubicBezTo>
                    <a:pt x="20639" y="6724"/>
                    <a:pt x="20639" y="12953"/>
                    <a:pt x="16796" y="16796"/>
                  </a:cubicBezTo>
                  <a:cubicBezTo>
                    <a:pt x="12953" y="20639"/>
                    <a:pt x="6724" y="20639"/>
                    <a:pt x="2881" y="16796"/>
                  </a:cubicBezTo>
                  <a:cubicBezTo>
                    <a:pt x="-961" y="12953"/>
                    <a:pt x="-961" y="6724"/>
                    <a:pt x="2881" y="2881"/>
                  </a:cubicBezTo>
                  <a:cubicBezTo>
                    <a:pt x="6724" y="-961"/>
                    <a:pt x="12953" y="-961"/>
                    <a:pt x="16796" y="2881"/>
                  </a:cubicBezTo>
                </a:path>
              </a:pathLst>
            </a:custGeom>
            <a:solidFill>
              <a:sysClr val="window" lastClr="FFFFFF"/>
            </a:solidFill>
            <a:ln w="25400" cap="flat" cmpd="sng">
              <a:solidFill>
                <a:srgbClr val="000000">
                  <a:alpha val="0"/>
                </a:srgbClr>
              </a:solidFill>
              <a:prstDash val="solid"/>
              <a:miter lim="0"/>
              <a:headEnd/>
              <a:tailEnd/>
            </a:ln>
            <a:effectLst/>
          </p:spPr>
          <p:txBody>
            <a:bodyPr lIns="0" tIns="0" rIns="0" bIns="0" anchor="ctr"/>
            <a:lstStyle/>
            <a:p>
              <a:pPr marL="0" marR="0" lvl="0" indent="0" algn="l" defTabSz="9142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sp>
        <p:nvSpPr>
          <p:cNvPr id="178" name="AutoShape 54">
            <a:extLst>
              <a:ext uri="{FF2B5EF4-FFF2-40B4-BE49-F238E27FC236}">
                <a16:creationId xmlns:a16="http://schemas.microsoft.com/office/drawing/2014/main" id="{0E2ACDA7-034D-CCC4-27B2-D7717F18E69C}"/>
              </a:ext>
            </a:extLst>
          </p:cNvPr>
          <p:cNvSpPr>
            <a:spLocks/>
          </p:cNvSpPr>
          <p:nvPr/>
        </p:nvSpPr>
        <p:spPr bwMode="auto">
          <a:xfrm rot="16200000">
            <a:off x="9915700" y="6174432"/>
            <a:ext cx="249173" cy="16668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336" y="21599"/>
                </a:moveTo>
                <a:cubicBezTo>
                  <a:pt x="969" y="21599"/>
                  <a:pt x="657" y="21365"/>
                  <a:pt x="392" y="20890"/>
                </a:cubicBezTo>
                <a:cubicBezTo>
                  <a:pt x="132" y="20401"/>
                  <a:pt x="0" y="19835"/>
                  <a:pt x="0" y="19171"/>
                </a:cubicBezTo>
                <a:cubicBezTo>
                  <a:pt x="0" y="18480"/>
                  <a:pt x="135" y="17907"/>
                  <a:pt x="403" y="17419"/>
                </a:cubicBezTo>
                <a:lnTo>
                  <a:pt x="9821" y="716"/>
                </a:lnTo>
                <a:cubicBezTo>
                  <a:pt x="10089" y="240"/>
                  <a:pt x="10412" y="0"/>
                  <a:pt x="10790" y="0"/>
                </a:cubicBezTo>
                <a:cubicBezTo>
                  <a:pt x="11176" y="0"/>
                  <a:pt x="11503" y="240"/>
                  <a:pt x="11774" y="716"/>
                </a:cubicBezTo>
                <a:lnTo>
                  <a:pt x="21196" y="17419"/>
                </a:lnTo>
                <a:cubicBezTo>
                  <a:pt x="21464" y="17907"/>
                  <a:pt x="21600" y="18480"/>
                  <a:pt x="21600" y="19171"/>
                </a:cubicBezTo>
                <a:cubicBezTo>
                  <a:pt x="21600" y="19815"/>
                  <a:pt x="21467" y="20375"/>
                  <a:pt x="21203" y="20870"/>
                </a:cubicBezTo>
                <a:cubicBezTo>
                  <a:pt x="20942" y="21359"/>
                  <a:pt x="20626" y="21599"/>
                  <a:pt x="20263" y="21599"/>
                </a:cubicBezTo>
                <a:lnTo>
                  <a:pt x="1336" y="21599"/>
                </a:lnTo>
                <a:close/>
              </a:path>
            </a:pathLst>
          </a:custGeom>
          <a:solidFill>
            <a:srgbClr val="4472C4"/>
          </a:solidFill>
          <a:ln>
            <a:noFill/>
          </a:ln>
          <a:effectLst/>
        </p:spPr>
        <p:txBody>
          <a:bodyPr lIns="19046" tIns="19046" rIns="19046" bIns="19046" anchor="ctr"/>
          <a:lstStyle/>
          <a:p>
            <a:pPr marL="0" marR="0" lvl="0" indent="0" algn="l" defTabSz="228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5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Gill Sans" charset="0"/>
              <a:ea typeface="+mn-ea"/>
              <a:cs typeface="Gill Sans" charset="0"/>
              <a:sym typeface="Gill Sans" charset="0"/>
            </a:endParaRPr>
          </a:p>
        </p:txBody>
      </p:sp>
      <p:grpSp>
        <p:nvGrpSpPr>
          <p:cNvPr id="179" name="Grupo 155">
            <a:extLst>
              <a:ext uri="{FF2B5EF4-FFF2-40B4-BE49-F238E27FC236}">
                <a16:creationId xmlns:a16="http://schemas.microsoft.com/office/drawing/2014/main" id="{F7A50A45-320C-08A4-9E79-9D10821A77F3}"/>
              </a:ext>
            </a:extLst>
          </p:cNvPr>
          <p:cNvGrpSpPr/>
          <p:nvPr/>
        </p:nvGrpSpPr>
        <p:grpSpPr>
          <a:xfrm>
            <a:off x="2427585" y="1124744"/>
            <a:ext cx="1557006" cy="1550628"/>
            <a:chOff x="7576392" y="1106877"/>
            <a:chExt cx="2132011" cy="2123278"/>
          </a:xfrm>
        </p:grpSpPr>
        <p:sp>
          <p:nvSpPr>
            <p:cNvPr id="180" name="Elipse 179">
              <a:extLst>
                <a:ext uri="{FF2B5EF4-FFF2-40B4-BE49-F238E27FC236}">
                  <a16:creationId xmlns:a16="http://schemas.microsoft.com/office/drawing/2014/main" id="{6C4B151B-C775-F4E5-C31B-FD60D31E8977}"/>
                </a:ext>
              </a:extLst>
            </p:cNvPr>
            <p:cNvSpPr/>
            <p:nvPr/>
          </p:nvSpPr>
          <p:spPr>
            <a:xfrm>
              <a:off x="7576392" y="1106877"/>
              <a:ext cx="2132011" cy="2123278"/>
            </a:xfrm>
            <a:prstGeom prst="ellipse">
              <a:avLst/>
            </a:prstGeom>
            <a:solidFill>
              <a:schemeClr val="bg2"/>
            </a:solidFill>
            <a:ln w="38100" cap="flat" cmpd="sng">
              <a:noFill/>
              <a:prstDash val="solid"/>
              <a:round/>
              <a:headEnd type="none" w="lg" len="lg"/>
              <a:tailEnd type="triangle" w="lg" len="lg"/>
            </a:ln>
          </p:spPr>
          <p:txBody>
            <a:bodyPr rtlCol="0" anchor="ctr"/>
            <a:lstStyle/>
            <a:p>
              <a:pPr algn="ctr"/>
              <a:endParaRPr lang="es-CL" sz="2400"/>
            </a:p>
          </p:txBody>
        </p:sp>
        <p:sp>
          <p:nvSpPr>
            <p:cNvPr id="181" name="CuadroTexto 180">
              <a:extLst>
                <a:ext uri="{FF2B5EF4-FFF2-40B4-BE49-F238E27FC236}">
                  <a16:creationId xmlns:a16="http://schemas.microsoft.com/office/drawing/2014/main" id="{B2DCF042-DC98-DD19-66A5-F9451CE31502}"/>
                </a:ext>
              </a:extLst>
            </p:cNvPr>
            <p:cNvSpPr txBox="1"/>
            <p:nvPr/>
          </p:nvSpPr>
          <p:spPr>
            <a:xfrm>
              <a:off x="7705093" y="2420888"/>
              <a:ext cx="1874612" cy="446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es-CL" b="1"/>
                <a:t>MTT</a:t>
              </a:r>
            </a:p>
          </p:txBody>
        </p:sp>
        <p:pic>
          <p:nvPicPr>
            <p:cNvPr id="182" name="Imagen 181">
              <a:extLst>
                <a:ext uri="{FF2B5EF4-FFF2-40B4-BE49-F238E27FC236}">
                  <a16:creationId xmlns:a16="http://schemas.microsoft.com/office/drawing/2014/main" id="{1271BC97-E07F-539C-8CB6-F3931EF9B5C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70076" y="1483119"/>
              <a:ext cx="944644" cy="852285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83" name="TextBox 67">
            <a:extLst>
              <a:ext uri="{FF2B5EF4-FFF2-40B4-BE49-F238E27FC236}">
                <a16:creationId xmlns:a16="http://schemas.microsoft.com/office/drawing/2014/main" id="{DEFD4820-035B-C8DF-B750-D7B2C051F95D}"/>
              </a:ext>
            </a:extLst>
          </p:cNvPr>
          <p:cNvSpPr txBox="1"/>
          <p:nvPr/>
        </p:nvSpPr>
        <p:spPr>
          <a:xfrm>
            <a:off x="8082282" y="2928875"/>
            <a:ext cx="1367684" cy="473894"/>
          </a:xfrm>
          <a:prstGeom prst="rect">
            <a:avLst/>
          </a:prstGeom>
          <a:noFill/>
        </p:spPr>
        <p:txBody>
          <a:bodyPr wrap="square" lIns="109710" tIns="54855" rIns="109710" bIns="54855" rtlCol="0">
            <a:sp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t>LISTADO DE SUMINISTRADORES</a:t>
            </a:r>
          </a:p>
        </p:txBody>
      </p:sp>
      <p:sp>
        <p:nvSpPr>
          <p:cNvPr id="184" name="CuadroTexto 183">
            <a:extLst>
              <a:ext uri="{FF2B5EF4-FFF2-40B4-BE49-F238E27FC236}">
                <a16:creationId xmlns:a16="http://schemas.microsoft.com/office/drawing/2014/main" id="{8E053A6B-37B1-BC44-3788-84827E514944}"/>
              </a:ext>
            </a:extLst>
          </p:cNvPr>
          <p:cNvSpPr txBox="1"/>
          <p:nvPr/>
        </p:nvSpPr>
        <p:spPr>
          <a:xfrm>
            <a:off x="597689" y="482282"/>
            <a:ext cx="752847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b="1" dirty="0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lementar un Nuevo modelo</a:t>
            </a:r>
            <a:endParaRPr lang="es-CL" sz="4400" b="1" dirty="0">
              <a:solidFill>
                <a:srgbClr val="00AA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1851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23DC1609-4051-A74C-A14D-786A055406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937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8D85FEA8-40A1-6748-A2C9-F29C889DD902}"/>
              </a:ext>
            </a:extLst>
          </p:cNvPr>
          <p:cNvSpPr txBox="1"/>
          <p:nvPr/>
        </p:nvSpPr>
        <p:spPr>
          <a:xfrm>
            <a:off x="597689" y="482282"/>
            <a:ext cx="770961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4400" b="1" dirty="0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ronograma de implementación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ED6087C-FC10-A34A-8B7F-8B5958F333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36" y="451835"/>
            <a:ext cx="361006" cy="690066"/>
          </a:xfrm>
          <a:prstGeom prst="rect">
            <a:avLst/>
          </a:prstGeom>
        </p:spPr>
      </p:pic>
      <p:graphicFrame>
        <p:nvGraphicFramePr>
          <p:cNvPr id="23" name="Tabla 12">
            <a:extLst>
              <a:ext uri="{FF2B5EF4-FFF2-40B4-BE49-F238E27FC236}">
                <a16:creationId xmlns:a16="http://schemas.microsoft.com/office/drawing/2014/main" id="{6BB2034B-D288-CEE0-275D-3574551A27BF}"/>
              </a:ext>
            </a:extLst>
          </p:cNvPr>
          <p:cNvGraphicFramePr>
            <a:graphicFrameLocks noGrp="1"/>
          </p:cNvGraphicFramePr>
          <p:nvPr/>
        </p:nvGraphicFramePr>
        <p:xfrm>
          <a:off x="432339" y="1415532"/>
          <a:ext cx="10947430" cy="45755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2110">
                  <a:extLst>
                    <a:ext uri="{9D8B030D-6E8A-4147-A177-3AD203B41FA5}">
                      <a16:colId xmlns:a16="http://schemas.microsoft.com/office/drawing/2014/main" val="3535067772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3080307755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4216717783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4089622574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97073063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524111760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1707325570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1508884606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852404764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4236033524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1979582923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2089818772"/>
                    </a:ext>
                  </a:extLst>
                </a:gridCol>
                <a:gridCol w="842110">
                  <a:extLst>
                    <a:ext uri="{9D8B030D-6E8A-4147-A177-3AD203B41FA5}">
                      <a16:colId xmlns:a16="http://schemas.microsoft.com/office/drawing/2014/main" val="3678123509"/>
                    </a:ext>
                  </a:extLst>
                </a:gridCol>
              </a:tblGrid>
              <a:tr h="252000">
                <a:tc gridSpan="8">
                  <a:txBody>
                    <a:bodyPr/>
                    <a:lstStyle/>
                    <a:p>
                      <a:pPr algn="ctr"/>
                      <a:r>
                        <a:rPr lang="es-ES" sz="1400" b="1">
                          <a:solidFill>
                            <a:schemeClr val="bg1"/>
                          </a:solidFill>
                        </a:rPr>
                        <a:t>2022</a:t>
                      </a:r>
                      <a:endParaRPr lang="es-CL" sz="14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s-ES" sz="1400" b="1">
                          <a:solidFill>
                            <a:schemeClr val="bg1"/>
                          </a:solidFill>
                        </a:rPr>
                        <a:t>2023</a:t>
                      </a:r>
                      <a:endParaRPr lang="es-CL" sz="1400" b="1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s-CL" sz="12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94165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es-CL" sz="1400" b="0">
                          <a:solidFill>
                            <a:schemeClr val="bg1"/>
                          </a:solidFill>
                        </a:rPr>
                        <a:t>MAY</a:t>
                      </a: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0">
                          <a:solidFill>
                            <a:schemeClr val="bg1"/>
                          </a:solidFill>
                        </a:rPr>
                        <a:t>JUN</a:t>
                      </a: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0">
                          <a:solidFill>
                            <a:schemeClr val="bg1"/>
                          </a:solidFill>
                        </a:rPr>
                        <a:t>JUL</a:t>
                      </a: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0">
                          <a:solidFill>
                            <a:schemeClr val="bg1"/>
                          </a:solidFill>
                        </a:rPr>
                        <a:t>AGO</a:t>
                      </a: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0">
                          <a:solidFill>
                            <a:schemeClr val="bg1"/>
                          </a:solidFill>
                        </a:rPr>
                        <a:t>SEP</a:t>
                      </a: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0">
                          <a:solidFill>
                            <a:schemeClr val="bg1"/>
                          </a:solidFill>
                        </a:rPr>
                        <a:t>OCT</a:t>
                      </a: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0">
                          <a:solidFill>
                            <a:schemeClr val="bg1"/>
                          </a:solidFill>
                        </a:rPr>
                        <a:t>NOV</a:t>
                      </a: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0">
                          <a:solidFill>
                            <a:schemeClr val="bg1"/>
                          </a:solidFill>
                        </a:rPr>
                        <a:t>DIC</a:t>
                      </a: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L" sz="1400" b="0">
                          <a:solidFill>
                            <a:schemeClr val="bg1"/>
                          </a:solidFill>
                        </a:rPr>
                        <a:t>ENE </a:t>
                      </a: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b="0">
                          <a:solidFill>
                            <a:schemeClr val="bg1"/>
                          </a:solidFill>
                        </a:rPr>
                        <a:t>FEB</a:t>
                      </a:r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b="0">
                          <a:solidFill>
                            <a:schemeClr val="bg1"/>
                          </a:solidFill>
                        </a:rPr>
                        <a:t>MAR</a:t>
                      </a:r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b="0">
                          <a:solidFill>
                            <a:schemeClr val="bg1"/>
                          </a:solidFill>
                        </a:rPr>
                        <a:t>ABR</a:t>
                      </a:r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400" b="0">
                          <a:solidFill>
                            <a:schemeClr val="bg1"/>
                          </a:solidFill>
                        </a:rPr>
                        <a:t>MAY</a:t>
                      </a:r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47817"/>
                  </a:ext>
                </a:extLst>
              </a:tr>
              <a:tr h="4071503"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CL" sz="1400" b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marT="0" marB="0" anchor="ctr">
                    <a:lnL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4675920"/>
                  </a:ext>
                </a:extLst>
              </a:tr>
            </a:tbl>
          </a:graphicData>
        </a:graphic>
      </p:graphicFrame>
      <p:sp>
        <p:nvSpPr>
          <p:cNvPr id="26" name="Rectángulo 25">
            <a:extLst>
              <a:ext uri="{FF2B5EF4-FFF2-40B4-BE49-F238E27FC236}">
                <a16:creationId xmlns:a16="http://schemas.microsoft.com/office/drawing/2014/main" id="{A5284BA6-D584-2BC9-2235-A6484061DC2E}"/>
              </a:ext>
            </a:extLst>
          </p:cNvPr>
          <p:cNvSpPr/>
          <p:nvPr/>
        </p:nvSpPr>
        <p:spPr>
          <a:xfrm>
            <a:off x="6269972" y="3357495"/>
            <a:ext cx="1364400" cy="6915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s-CL" sz="1200" b="1" dirty="0">
                <a:solidFill>
                  <a:schemeClr val="accent1"/>
                </a:solidFill>
              </a:rPr>
              <a:t>07/12 </a:t>
            </a:r>
            <a:br>
              <a:rPr lang="es-CL" sz="1200" b="1" dirty="0">
                <a:solidFill>
                  <a:schemeClr val="accent1"/>
                </a:solidFill>
              </a:rPr>
            </a:br>
            <a:r>
              <a:rPr lang="es-CL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ncionar PO de  Implementación</a:t>
            </a:r>
            <a:endParaRPr lang="es-CL" sz="1200" b="1" dirty="0">
              <a:solidFill>
                <a:schemeClr val="accent1"/>
              </a:solidFill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9077B674-8270-8E7A-B163-BCD25993D627}"/>
              </a:ext>
            </a:extLst>
          </p:cNvPr>
          <p:cNvSpPr/>
          <p:nvPr/>
        </p:nvSpPr>
        <p:spPr>
          <a:xfrm>
            <a:off x="7742572" y="4138140"/>
            <a:ext cx="3247006" cy="6677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pPr algn="ctr"/>
            <a:r>
              <a:rPr lang="es-CL" sz="2000" b="1" dirty="0">
                <a:solidFill>
                  <a:srgbClr val="FF0000"/>
                </a:solidFill>
              </a:rPr>
              <a:t>IMPLEMENTACIÓN GRADUAL DE SERVICIOS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43D2DC53-8B92-F46C-41BF-CA960A05D51D}"/>
              </a:ext>
            </a:extLst>
          </p:cNvPr>
          <p:cNvSpPr/>
          <p:nvPr/>
        </p:nvSpPr>
        <p:spPr>
          <a:xfrm>
            <a:off x="6269972" y="1961024"/>
            <a:ext cx="1364400" cy="1068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s-CL" sz="1400" b="1">
                <a:solidFill>
                  <a:srgbClr val="E83B45"/>
                </a:solidFill>
              </a:rPr>
              <a:t>01/12  </a:t>
            </a:r>
          </a:p>
          <a:p>
            <a:r>
              <a:rPr lang="es-CL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CAMPAÑAS INFORMATIVAS USUARIOS</a:t>
            </a: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E0FD225E-B792-2302-A0EC-B0D72A3804F6}"/>
              </a:ext>
            </a:extLst>
          </p:cNvPr>
          <p:cNvSpPr/>
          <p:nvPr/>
        </p:nvSpPr>
        <p:spPr>
          <a:xfrm>
            <a:off x="5322116" y="3828485"/>
            <a:ext cx="1138673" cy="6627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s-CL" sz="1200" b="1">
                <a:solidFill>
                  <a:srgbClr val="E83B45"/>
                </a:solidFill>
              </a:rPr>
              <a:t>31/10 </a:t>
            </a:r>
          </a:p>
          <a:p>
            <a:r>
              <a:rPr lang="es-CL" sz="1200" b="1">
                <a:solidFill>
                  <a:schemeClr val="tx1">
                    <a:lumMod val="75000"/>
                    <a:lumOff val="25000"/>
                  </a:schemeClr>
                </a:solidFill>
              </a:rPr>
              <a:t>Inicio pruebas</a:t>
            </a:r>
            <a:endParaRPr lang="es-CL" sz="1200" b="1">
              <a:solidFill>
                <a:srgbClr val="E83B45"/>
              </a:solidFill>
            </a:endParaRP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3FB39DA4-E51C-51B7-724F-6C692E4DFF7C}"/>
              </a:ext>
            </a:extLst>
          </p:cNvPr>
          <p:cNvSpPr/>
          <p:nvPr/>
        </p:nvSpPr>
        <p:spPr>
          <a:xfrm>
            <a:off x="2884474" y="1987979"/>
            <a:ext cx="2097480" cy="6627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pPr>
              <a:spcBef>
                <a:spcPts val="600"/>
              </a:spcBef>
            </a:pPr>
            <a:r>
              <a:rPr lang="es-CL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isitas a las fábricas de buses</a:t>
            </a:r>
          </a:p>
          <a:p>
            <a:pPr>
              <a:spcBef>
                <a:spcPts val="600"/>
              </a:spcBef>
            </a:pPr>
            <a:r>
              <a:rPr lang="es-CL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scripción contratos con SSCC</a:t>
            </a:r>
          </a:p>
          <a:p>
            <a:pPr>
              <a:spcBef>
                <a:spcPts val="600"/>
              </a:spcBef>
            </a:pPr>
            <a:endParaRPr lang="es-CL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Flecha: pentágono 21">
            <a:extLst>
              <a:ext uri="{FF2B5EF4-FFF2-40B4-BE49-F238E27FC236}">
                <a16:creationId xmlns:a16="http://schemas.microsoft.com/office/drawing/2014/main" id="{55FAB799-2F3E-4CE5-D8C9-AE6A9FE574E2}"/>
              </a:ext>
            </a:extLst>
          </p:cNvPr>
          <p:cNvSpPr/>
          <p:nvPr/>
        </p:nvSpPr>
        <p:spPr>
          <a:xfrm>
            <a:off x="628085" y="3514758"/>
            <a:ext cx="5641887" cy="284382"/>
          </a:xfrm>
          <a:prstGeom prst="homePlate">
            <a:avLst/>
          </a:prstGeom>
          <a:solidFill>
            <a:srgbClr val="4472C4">
              <a:alpha val="7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s-CL" sz="1600" b="1">
                <a:solidFill>
                  <a:schemeClr val="bg1"/>
                </a:solidFill>
              </a:rPr>
              <a:t>Proceso PO Abreviado</a:t>
            </a:r>
          </a:p>
        </p:txBody>
      </p:sp>
      <p:sp>
        <p:nvSpPr>
          <p:cNvPr id="34" name="Flecha: pentágono 33">
            <a:extLst>
              <a:ext uri="{FF2B5EF4-FFF2-40B4-BE49-F238E27FC236}">
                <a16:creationId xmlns:a16="http://schemas.microsoft.com/office/drawing/2014/main" id="{CC55A01A-BDFE-A2E8-3AF5-0D23B197C609}"/>
              </a:ext>
            </a:extLst>
          </p:cNvPr>
          <p:cNvSpPr/>
          <p:nvPr/>
        </p:nvSpPr>
        <p:spPr>
          <a:xfrm>
            <a:off x="612842" y="4322390"/>
            <a:ext cx="6563277" cy="284382"/>
          </a:xfrm>
          <a:prstGeom prst="homePlate">
            <a:avLst/>
          </a:prstGeom>
          <a:solidFill>
            <a:srgbClr val="F757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s-CL" sz="1600" b="1">
                <a:solidFill>
                  <a:schemeClr val="bg1"/>
                </a:solidFill>
              </a:rPr>
              <a:t>Implementación Infraestructura de Carga</a:t>
            </a:r>
          </a:p>
        </p:txBody>
      </p:sp>
      <p:sp>
        <p:nvSpPr>
          <p:cNvPr id="35" name="Flecha: pentágono 34">
            <a:extLst>
              <a:ext uri="{FF2B5EF4-FFF2-40B4-BE49-F238E27FC236}">
                <a16:creationId xmlns:a16="http://schemas.microsoft.com/office/drawing/2014/main" id="{96969BAB-ABA8-9D4E-72E0-EE354B28F46D}"/>
              </a:ext>
            </a:extLst>
          </p:cNvPr>
          <p:cNvSpPr/>
          <p:nvPr/>
        </p:nvSpPr>
        <p:spPr>
          <a:xfrm>
            <a:off x="631723" y="4726206"/>
            <a:ext cx="6563277" cy="284382"/>
          </a:xfrm>
          <a:prstGeom prst="homePlate">
            <a:avLst/>
          </a:prstGeom>
          <a:solidFill>
            <a:srgbClr val="F757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s-CL" sz="1600" b="1">
                <a:solidFill>
                  <a:schemeClr val="bg1"/>
                </a:solidFill>
              </a:rPr>
              <a:t>Homologación / fabricación / traslado / aceptación buses Suministro</a:t>
            </a:r>
          </a:p>
        </p:txBody>
      </p:sp>
      <p:sp>
        <p:nvSpPr>
          <p:cNvPr id="36" name="Flecha: pentágono 35">
            <a:extLst>
              <a:ext uri="{FF2B5EF4-FFF2-40B4-BE49-F238E27FC236}">
                <a16:creationId xmlns:a16="http://schemas.microsoft.com/office/drawing/2014/main" id="{879CCB1B-8043-D6DC-A161-CA9B75509FA9}"/>
              </a:ext>
            </a:extLst>
          </p:cNvPr>
          <p:cNvSpPr/>
          <p:nvPr/>
        </p:nvSpPr>
        <p:spPr>
          <a:xfrm>
            <a:off x="631723" y="5130022"/>
            <a:ext cx="6563278" cy="284382"/>
          </a:xfrm>
          <a:prstGeom prst="homePlate">
            <a:avLst/>
          </a:prstGeom>
          <a:solidFill>
            <a:srgbClr val="F757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s-CL" sz="1600" b="1">
                <a:solidFill>
                  <a:schemeClr val="bg1"/>
                </a:solidFill>
              </a:rPr>
              <a:t>Revisión y traspaso de contratos de provisión de buses</a:t>
            </a:r>
          </a:p>
        </p:txBody>
      </p:sp>
      <p:sp>
        <p:nvSpPr>
          <p:cNvPr id="37" name="Flecha: pentágono 36">
            <a:extLst>
              <a:ext uri="{FF2B5EF4-FFF2-40B4-BE49-F238E27FC236}">
                <a16:creationId xmlns:a16="http://schemas.microsoft.com/office/drawing/2014/main" id="{33BB66BF-9DF9-2AF9-DC63-50D3927B2009}"/>
              </a:ext>
            </a:extLst>
          </p:cNvPr>
          <p:cNvSpPr/>
          <p:nvPr/>
        </p:nvSpPr>
        <p:spPr>
          <a:xfrm>
            <a:off x="631723" y="3918574"/>
            <a:ext cx="4570141" cy="284382"/>
          </a:xfrm>
          <a:prstGeom prst="homePlate">
            <a:avLst/>
          </a:prstGeom>
          <a:solidFill>
            <a:srgbClr val="F757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s-CL" sz="1600" b="1">
                <a:solidFill>
                  <a:schemeClr val="bg1"/>
                </a:solidFill>
              </a:rPr>
              <a:t>Desarrollo máquina de cálculo indicadores</a:t>
            </a:r>
          </a:p>
        </p:txBody>
      </p:sp>
      <p:sp>
        <p:nvSpPr>
          <p:cNvPr id="38" name="Flecha: pentágono 37">
            <a:extLst>
              <a:ext uri="{FF2B5EF4-FFF2-40B4-BE49-F238E27FC236}">
                <a16:creationId xmlns:a16="http://schemas.microsoft.com/office/drawing/2014/main" id="{EA40991E-CB85-2722-6156-1836CE1393AD}"/>
              </a:ext>
            </a:extLst>
          </p:cNvPr>
          <p:cNvSpPr/>
          <p:nvPr/>
        </p:nvSpPr>
        <p:spPr>
          <a:xfrm>
            <a:off x="631723" y="5533839"/>
            <a:ext cx="6563278" cy="284382"/>
          </a:xfrm>
          <a:prstGeom prst="homePlate">
            <a:avLst/>
          </a:prstGeom>
          <a:solidFill>
            <a:srgbClr val="F757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rtlCol="0" anchor="ctr"/>
          <a:lstStyle/>
          <a:p>
            <a:r>
              <a:rPr lang="es-CL" sz="1600" b="1">
                <a:solidFill>
                  <a:schemeClr val="bg1"/>
                </a:solidFill>
              </a:rPr>
              <a:t>Transferencia de uso de los terminales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9B998EF2-E13B-DE4E-20DF-5A6EE0E69BD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33754" y="3917293"/>
            <a:ext cx="345310" cy="280317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id="{6E4F5AE1-3038-D447-F049-4626F08C5EA4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9584" y="4659676"/>
            <a:ext cx="393650" cy="359170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id="{54976C0C-686A-1985-2A9F-48642B275E02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EDEDED"/>
              </a:clrFrom>
              <a:clrTo>
                <a:srgbClr val="EDEDE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0695" y="4295160"/>
            <a:ext cx="311429" cy="338064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FF20C978-DCCB-DDA4-454B-E34A2F02E649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81462" y="5501338"/>
            <a:ext cx="449895" cy="316883"/>
          </a:xfrm>
          <a:prstGeom prst="rect">
            <a:avLst/>
          </a:prstGeom>
        </p:spPr>
      </p:pic>
      <p:pic>
        <p:nvPicPr>
          <p:cNvPr id="25" name="Imagen 24">
            <a:extLst>
              <a:ext uri="{FF2B5EF4-FFF2-40B4-BE49-F238E27FC236}">
                <a16:creationId xmlns:a16="http://schemas.microsoft.com/office/drawing/2014/main" id="{379F3A6D-0D35-6E2E-BF55-9C27021A37C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9584" y="5083798"/>
            <a:ext cx="393650" cy="359170"/>
          </a:xfrm>
          <a:prstGeom prst="rect">
            <a:avLst/>
          </a:prstGeom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F3EBE651-AA4E-0DC8-8EC9-7AD4856BAF07}"/>
              </a:ext>
            </a:extLst>
          </p:cNvPr>
          <p:cNvSpPr/>
          <p:nvPr/>
        </p:nvSpPr>
        <p:spPr>
          <a:xfrm>
            <a:off x="1176250" y="1883229"/>
            <a:ext cx="1093115" cy="8311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s-CL" sz="1400" b="1">
                <a:solidFill>
                  <a:srgbClr val="E83B45"/>
                </a:solidFill>
              </a:rPr>
              <a:t>15/06 </a:t>
            </a:r>
            <a:br>
              <a:rPr lang="es-CL" sz="1400" b="1">
                <a:solidFill>
                  <a:srgbClr val="E83B45"/>
                </a:solidFill>
              </a:rPr>
            </a:br>
            <a:r>
              <a:rPr lang="es-CL" sz="1200">
                <a:solidFill>
                  <a:schemeClr val="tx1">
                    <a:lumMod val="75000"/>
                    <a:lumOff val="25000"/>
                  </a:schemeClr>
                </a:solidFill>
              </a:rPr>
              <a:t>Aprobación Plan de Puesta en Marcha</a:t>
            </a:r>
            <a:endParaRPr lang="es-CL" sz="1200" b="1">
              <a:solidFill>
                <a:srgbClr val="E83B45"/>
              </a:solidFill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8DEA7893-0A78-3805-45B9-F130D2B0B8B2}"/>
              </a:ext>
            </a:extLst>
          </p:cNvPr>
          <p:cNvSpPr/>
          <p:nvPr/>
        </p:nvSpPr>
        <p:spPr>
          <a:xfrm>
            <a:off x="1176250" y="2709785"/>
            <a:ext cx="1364400" cy="6627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s-CL" sz="1400" b="1" dirty="0">
                <a:solidFill>
                  <a:srgbClr val="E83B45"/>
                </a:solidFill>
              </a:rPr>
              <a:t>24/06 </a:t>
            </a:r>
          </a:p>
          <a:p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scripción </a:t>
            </a:r>
          </a:p>
          <a:p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ctas </a:t>
            </a:r>
          </a:p>
          <a:p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malización</a:t>
            </a:r>
            <a:endParaRPr lang="es-CL" sz="1200" dirty="0">
              <a:solidFill>
                <a:srgbClr val="E83B45"/>
              </a:solidFill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601C9D32-462F-9186-D992-CC55740C9548}"/>
              </a:ext>
            </a:extLst>
          </p:cNvPr>
          <p:cNvSpPr/>
          <p:nvPr/>
        </p:nvSpPr>
        <p:spPr>
          <a:xfrm>
            <a:off x="5433601" y="1928858"/>
            <a:ext cx="976855" cy="83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s-CL" sz="1400" b="1" dirty="0">
                <a:solidFill>
                  <a:srgbClr val="E83B45"/>
                </a:solidFill>
              </a:rPr>
              <a:t>15/11</a:t>
            </a:r>
            <a:br>
              <a:rPr lang="es-CL" sz="1400" b="1" dirty="0">
                <a:solidFill>
                  <a:srgbClr val="E83B45"/>
                </a:solidFill>
              </a:rPr>
            </a:br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blicar 12 Instructivos del Contrato</a:t>
            </a:r>
            <a:endParaRPr lang="es-CL" sz="1400" dirty="0">
              <a:solidFill>
                <a:srgbClr val="E83B45"/>
              </a:solidFill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33D03B9D-4971-7A36-F2BC-6B0BC9F8DFD3}"/>
              </a:ext>
            </a:extLst>
          </p:cNvPr>
          <p:cNvSpPr/>
          <p:nvPr/>
        </p:nvSpPr>
        <p:spPr>
          <a:xfrm>
            <a:off x="2103658" y="2717295"/>
            <a:ext cx="976855" cy="6627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s-CL" sz="1400" b="1" dirty="0">
                <a:solidFill>
                  <a:srgbClr val="E83B45"/>
                </a:solidFill>
              </a:rPr>
              <a:t>15/07 </a:t>
            </a:r>
          </a:p>
          <a:p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t de Parámetros</a:t>
            </a:r>
            <a:endParaRPr lang="es-CL" sz="1200" dirty="0">
              <a:solidFill>
                <a:srgbClr val="E83B45"/>
              </a:solidFill>
            </a:endParaRP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A985C282-F74C-9CC0-6817-68CAA534E4C5}"/>
              </a:ext>
            </a:extLst>
          </p:cNvPr>
          <p:cNvSpPr/>
          <p:nvPr/>
        </p:nvSpPr>
        <p:spPr>
          <a:xfrm>
            <a:off x="3781241" y="2787580"/>
            <a:ext cx="1540875" cy="6627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t"/>
          <a:lstStyle/>
          <a:p>
            <a:r>
              <a:rPr lang="es-CL" sz="1400" b="1" dirty="0">
                <a:solidFill>
                  <a:srgbClr val="E83B45"/>
                </a:solidFill>
              </a:rPr>
              <a:t>02/09 </a:t>
            </a:r>
          </a:p>
          <a:p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tratos Infra. Carga</a:t>
            </a:r>
            <a:endParaRPr lang="es-CL" sz="1200" dirty="0">
              <a:solidFill>
                <a:srgbClr val="E83B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7263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23DC1609-4051-A74C-A14D-786A055406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9375"/>
          </a:xfrm>
          <a:prstGeom prst="rect">
            <a:avLst/>
          </a:prstGeom>
        </p:spPr>
      </p:pic>
      <p:sp>
        <p:nvSpPr>
          <p:cNvPr id="13" name="CuadroTexto 12">
            <a:extLst>
              <a:ext uri="{FF2B5EF4-FFF2-40B4-BE49-F238E27FC236}">
                <a16:creationId xmlns:a16="http://schemas.microsoft.com/office/drawing/2014/main" id="{8D85FEA8-40A1-6748-A2C9-F29C889DD902}"/>
              </a:ext>
            </a:extLst>
          </p:cNvPr>
          <p:cNvSpPr txBox="1"/>
          <p:nvPr/>
        </p:nvSpPr>
        <p:spPr>
          <a:xfrm>
            <a:off x="597689" y="482282"/>
            <a:ext cx="6125716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4400" b="1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lang="es-CL" sz="4400" b="1">
                <a:solidFill>
                  <a:srgbClr val="00AA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nificación del traspaso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ED6087C-FC10-A34A-8B7F-8B5958F333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36" y="451835"/>
            <a:ext cx="361006" cy="690066"/>
          </a:xfrm>
          <a:prstGeom prst="rect">
            <a:avLst/>
          </a:prstGeom>
        </p:spPr>
      </p:pic>
      <p:pic>
        <p:nvPicPr>
          <p:cNvPr id="48" name="Imagen 47">
            <a:extLst>
              <a:ext uri="{FF2B5EF4-FFF2-40B4-BE49-F238E27FC236}">
                <a16:creationId xmlns:a16="http://schemas.microsoft.com/office/drawing/2014/main" id="{EA5F1A8C-694A-1BFE-3A36-E4B3D61E097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06503" y="4636091"/>
            <a:ext cx="1157142" cy="939348"/>
          </a:xfrm>
          <a:prstGeom prst="rect">
            <a:avLst/>
          </a:prstGeom>
        </p:spPr>
      </p:pic>
      <p:sp>
        <p:nvSpPr>
          <p:cNvPr id="53" name="Rectángulo 52">
            <a:extLst>
              <a:ext uri="{FF2B5EF4-FFF2-40B4-BE49-F238E27FC236}">
                <a16:creationId xmlns:a16="http://schemas.microsoft.com/office/drawing/2014/main" id="{8EF18FA4-37B9-4435-F2F1-E6EB42B83C80}"/>
              </a:ext>
            </a:extLst>
          </p:cNvPr>
          <p:cNvSpPr/>
          <p:nvPr/>
        </p:nvSpPr>
        <p:spPr>
          <a:xfrm>
            <a:off x="8586728" y="3809982"/>
            <a:ext cx="2196692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t">
            <a:noAutofit/>
          </a:bodyPr>
          <a:lstStyle/>
          <a:p>
            <a:pPr lvl="0" algn="ctr" defTabSz="914400">
              <a:defRPr/>
            </a:pPr>
            <a:r>
              <a:rPr lang="es-CL" sz="20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raspaso de sistemas</a:t>
            </a: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2A0D76E8-5BA8-8E7B-B31C-527064F529D1}"/>
              </a:ext>
            </a:extLst>
          </p:cNvPr>
          <p:cNvSpPr/>
          <p:nvPr/>
        </p:nvSpPr>
        <p:spPr>
          <a:xfrm>
            <a:off x="1269315" y="3809982"/>
            <a:ext cx="2410774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t">
            <a:noAutofit/>
          </a:bodyPr>
          <a:lstStyle/>
          <a:p>
            <a:pPr lvl="0" algn="ctr" defTabSz="914400">
              <a:defRPr/>
            </a:pPr>
            <a:r>
              <a:rPr lang="es-CL" sz="20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raspaso de terminales</a:t>
            </a:r>
          </a:p>
        </p:txBody>
      </p:sp>
      <p:sp>
        <p:nvSpPr>
          <p:cNvPr id="55" name="Rectángulo 54">
            <a:extLst>
              <a:ext uri="{FF2B5EF4-FFF2-40B4-BE49-F238E27FC236}">
                <a16:creationId xmlns:a16="http://schemas.microsoft.com/office/drawing/2014/main" id="{304C4842-737C-C29E-5A97-FD3A3A99C977}"/>
              </a:ext>
            </a:extLst>
          </p:cNvPr>
          <p:cNvSpPr/>
          <p:nvPr/>
        </p:nvSpPr>
        <p:spPr>
          <a:xfrm>
            <a:off x="4779134" y="1386015"/>
            <a:ext cx="2556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t">
            <a:noAutofit/>
          </a:bodyPr>
          <a:lstStyle/>
          <a:p>
            <a:pPr lvl="0" algn="ctr" defTabSz="914400">
              <a:defRPr/>
            </a:pPr>
            <a:r>
              <a:rPr lang="es-CL" sz="2000" b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Entrega de buses de suministro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E301917A-3AD6-5A98-5357-93295CB7613B}"/>
              </a:ext>
            </a:extLst>
          </p:cNvPr>
          <p:cNvSpPr/>
          <p:nvPr/>
        </p:nvSpPr>
        <p:spPr>
          <a:xfrm>
            <a:off x="4710623" y="3809982"/>
            <a:ext cx="2693022" cy="64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t">
            <a:noAutofit/>
          </a:bodyPr>
          <a:lstStyle/>
          <a:p>
            <a:pPr lvl="0" algn="ctr" defTabSz="914400">
              <a:defRPr/>
            </a:pPr>
            <a:r>
              <a:rPr lang="es-CL" sz="2000" b="1" dirty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Instalación de infraestructura de carga</a:t>
            </a:r>
          </a:p>
        </p:txBody>
      </p:sp>
      <p:pic>
        <p:nvPicPr>
          <p:cNvPr id="58" name="Picture 2" descr="Icono Cambio Gratis - Icon-Icons.com">
            <a:extLst>
              <a:ext uri="{FF2B5EF4-FFF2-40B4-BE49-F238E27FC236}">
                <a16:creationId xmlns:a16="http://schemas.microsoft.com/office/drawing/2014/main" id="{9E116E69-4D11-C126-E196-2D9F210B85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113" y="2019438"/>
            <a:ext cx="1169178" cy="1169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ángulo 58">
            <a:extLst>
              <a:ext uri="{FF2B5EF4-FFF2-40B4-BE49-F238E27FC236}">
                <a16:creationId xmlns:a16="http://schemas.microsoft.com/office/drawing/2014/main" id="{F4F4060E-A682-DFF6-7D85-26E8B729F9C0}"/>
              </a:ext>
            </a:extLst>
          </p:cNvPr>
          <p:cNvSpPr/>
          <p:nvPr/>
        </p:nvSpPr>
        <p:spPr>
          <a:xfrm>
            <a:off x="1196702" y="1386015"/>
            <a:ext cx="2556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t">
            <a:noAutofit/>
          </a:bodyPr>
          <a:lstStyle/>
          <a:p>
            <a:pPr lvl="0" algn="ctr" defTabSz="914400">
              <a:defRPr/>
            </a:pPr>
            <a:r>
              <a:rPr lang="es-CL" sz="2000" b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ambios del PO y</a:t>
            </a:r>
          </a:p>
          <a:p>
            <a:pPr lvl="0" algn="ctr" defTabSz="914400">
              <a:defRPr/>
            </a:pPr>
            <a:r>
              <a:rPr lang="es-CL" sz="2000" b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Campañas Informativas</a:t>
            </a: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A9EE2EA1-D3AE-310C-4935-1D5F5B8E4CE7}"/>
              </a:ext>
            </a:extLst>
          </p:cNvPr>
          <p:cNvSpPr/>
          <p:nvPr/>
        </p:nvSpPr>
        <p:spPr>
          <a:xfrm>
            <a:off x="8407074" y="1386015"/>
            <a:ext cx="2556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578" tIns="26578" rIns="26578" bIns="26578" rtlCol="0" anchor="t">
            <a:noAutofit/>
          </a:bodyPr>
          <a:lstStyle/>
          <a:p>
            <a:pPr lvl="0" algn="ctr" defTabSz="914400">
              <a:defRPr/>
            </a:pPr>
            <a:r>
              <a:rPr lang="es-CL" sz="2000" b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raspaso de buses de provisión</a:t>
            </a: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id="{CFD3DD9E-0BF9-CF31-E727-783EC53BE8EF}"/>
              </a:ext>
            </a:extLst>
          </p:cNvPr>
          <p:cNvGrpSpPr/>
          <p:nvPr/>
        </p:nvGrpSpPr>
        <p:grpSpPr>
          <a:xfrm>
            <a:off x="8751259" y="1792439"/>
            <a:ext cx="1867630" cy="1559395"/>
            <a:chOff x="8793496" y="1792439"/>
            <a:chExt cx="1867630" cy="1559395"/>
          </a:xfrm>
        </p:grpSpPr>
        <p:grpSp>
          <p:nvGrpSpPr>
            <p:cNvPr id="73" name="Grupo 72">
              <a:extLst>
                <a:ext uri="{FF2B5EF4-FFF2-40B4-BE49-F238E27FC236}">
                  <a16:creationId xmlns:a16="http://schemas.microsoft.com/office/drawing/2014/main" id="{95A5D2C9-5DCE-BA7A-C01A-D389D3D90207}"/>
                </a:ext>
              </a:extLst>
            </p:cNvPr>
            <p:cNvGrpSpPr/>
            <p:nvPr/>
          </p:nvGrpSpPr>
          <p:grpSpPr>
            <a:xfrm>
              <a:off x="8793496" y="1792439"/>
              <a:ext cx="1260000" cy="1260000"/>
              <a:chOff x="4882287" y="1993421"/>
              <a:chExt cx="1260000" cy="1260000"/>
            </a:xfrm>
          </p:grpSpPr>
          <p:sp>
            <p:nvSpPr>
              <p:cNvPr id="74" name="Rectángulo 64">
                <a:extLst>
                  <a:ext uri="{FF2B5EF4-FFF2-40B4-BE49-F238E27FC236}">
                    <a16:creationId xmlns:a16="http://schemas.microsoft.com/office/drawing/2014/main" id="{3406FE0F-1618-E81B-771E-3645E2081C9F}"/>
                  </a:ext>
                </a:extLst>
              </p:cNvPr>
              <p:cNvSpPr/>
              <p:nvPr/>
            </p:nvSpPr>
            <p:spPr>
              <a:xfrm>
                <a:off x="4992194" y="2345953"/>
                <a:ext cx="1071921" cy="538639"/>
              </a:xfrm>
              <a:custGeom>
                <a:avLst/>
                <a:gdLst>
                  <a:gd name="connsiteX0" fmla="*/ 0 w 1087161"/>
                  <a:gd name="connsiteY0" fmla="*/ 0 h 529845"/>
                  <a:gd name="connsiteX1" fmla="*/ 1087161 w 1087161"/>
                  <a:gd name="connsiteY1" fmla="*/ 0 h 529845"/>
                  <a:gd name="connsiteX2" fmla="*/ 1087161 w 1087161"/>
                  <a:gd name="connsiteY2" fmla="*/ 529845 h 529845"/>
                  <a:gd name="connsiteX3" fmla="*/ 0 w 1087161"/>
                  <a:gd name="connsiteY3" fmla="*/ 529845 h 529845"/>
                  <a:gd name="connsiteX4" fmla="*/ 0 w 1087161"/>
                  <a:gd name="connsiteY4" fmla="*/ 0 h 529845"/>
                  <a:gd name="connsiteX0" fmla="*/ 38100 w 1087161"/>
                  <a:gd name="connsiteY0" fmla="*/ 0 h 567945"/>
                  <a:gd name="connsiteX1" fmla="*/ 1087161 w 1087161"/>
                  <a:gd name="connsiteY1" fmla="*/ 3810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087161"/>
                  <a:gd name="connsiteY0" fmla="*/ 0 h 567945"/>
                  <a:gd name="connsiteX1" fmla="*/ 1041441 w 1087161"/>
                  <a:gd name="connsiteY1" fmla="*/ 762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0 w 1110021"/>
                  <a:gd name="connsiteY3" fmla="*/ 567945 h 567945"/>
                  <a:gd name="connsiteX4" fmla="*/ 38100 w 111002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1087161 w 1110021"/>
                  <a:gd name="connsiteY3" fmla="*/ 538639 h 567945"/>
                  <a:gd name="connsiteX4" fmla="*/ 0 w 1110021"/>
                  <a:gd name="connsiteY4" fmla="*/ 567945 h 567945"/>
                  <a:gd name="connsiteX5" fmla="*/ 38100 w 1110021"/>
                  <a:gd name="connsiteY5" fmla="*/ 0 h 567945"/>
                  <a:gd name="connsiteX0" fmla="*/ 0 w 1071921"/>
                  <a:gd name="connsiteY0" fmla="*/ 0 h 538639"/>
                  <a:gd name="connsiteX1" fmla="*/ 1003341 w 1071921"/>
                  <a:gd name="connsiteY1" fmla="*/ 7620 h 538639"/>
                  <a:gd name="connsiteX2" fmla="*/ 1071921 w 1071921"/>
                  <a:gd name="connsiteY2" fmla="*/ 362205 h 538639"/>
                  <a:gd name="connsiteX3" fmla="*/ 1049061 w 1071921"/>
                  <a:gd name="connsiteY3" fmla="*/ 538639 h 538639"/>
                  <a:gd name="connsiteX4" fmla="*/ 0 w 1071921"/>
                  <a:gd name="connsiteY4" fmla="*/ 537465 h 538639"/>
                  <a:gd name="connsiteX5" fmla="*/ 0 w 1071921"/>
                  <a:gd name="connsiteY5" fmla="*/ 0 h 53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1921" h="538639">
                    <a:moveTo>
                      <a:pt x="0" y="0"/>
                    </a:moveTo>
                    <a:lnTo>
                      <a:pt x="1003341" y="7620"/>
                    </a:lnTo>
                    <a:lnTo>
                      <a:pt x="1071921" y="362205"/>
                    </a:lnTo>
                    <a:cubicBezTo>
                      <a:pt x="1023661" y="367676"/>
                      <a:pt x="1097321" y="533168"/>
                      <a:pt x="1049061" y="538639"/>
                    </a:cubicBezTo>
                    <a:lnTo>
                      <a:pt x="0" y="5374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pic>
            <p:nvPicPr>
              <p:cNvPr id="75" name="Gráfico 74" descr="Autobús con relleno sólido">
                <a:extLst>
                  <a:ext uri="{FF2B5EF4-FFF2-40B4-BE49-F238E27FC236}">
                    <a16:creationId xmlns:a16="http://schemas.microsoft.com/office/drawing/2014/main" id="{B192ECA1-86D5-D001-A61E-B9EFFF64D85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882287" y="1993421"/>
                <a:ext cx="1260000" cy="1260000"/>
              </a:xfrm>
              <a:prstGeom prst="rect">
                <a:avLst/>
              </a:prstGeom>
            </p:spPr>
          </p:pic>
        </p:grpSp>
        <p:grpSp>
          <p:nvGrpSpPr>
            <p:cNvPr id="76" name="Grupo 75">
              <a:extLst>
                <a:ext uri="{FF2B5EF4-FFF2-40B4-BE49-F238E27FC236}">
                  <a16:creationId xmlns:a16="http://schemas.microsoft.com/office/drawing/2014/main" id="{601635EE-D544-F0AD-7F70-0E3A7A613525}"/>
                </a:ext>
              </a:extLst>
            </p:cNvPr>
            <p:cNvGrpSpPr/>
            <p:nvPr/>
          </p:nvGrpSpPr>
          <p:grpSpPr>
            <a:xfrm>
              <a:off x="9103985" y="1943156"/>
              <a:ext cx="1260000" cy="1260000"/>
              <a:chOff x="3195678" y="2015971"/>
              <a:chExt cx="1260000" cy="1260000"/>
            </a:xfrm>
          </p:grpSpPr>
          <p:sp>
            <p:nvSpPr>
              <p:cNvPr id="77" name="Rectángulo 64">
                <a:extLst>
                  <a:ext uri="{FF2B5EF4-FFF2-40B4-BE49-F238E27FC236}">
                    <a16:creationId xmlns:a16="http://schemas.microsoft.com/office/drawing/2014/main" id="{3BD64804-9959-EE4F-DF10-F12B3C6B6F62}"/>
                  </a:ext>
                </a:extLst>
              </p:cNvPr>
              <p:cNvSpPr/>
              <p:nvPr/>
            </p:nvSpPr>
            <p:spPr>
              <a:xfrm>
                <a:off x="3289090" y="2362427"/>
                <a:ext cx="1071921" cy="538639"/>
              </a:xfrm>
              <a:custGeom>
                <a:avLst/>
                <a:gdLst>
                  <a:gd name="connsiteX0" fmla="*/ 0 w 1087161"/>
                  <a:gd name="connsiteY0" fmla="*/ 0 h 529845"/>
                  <a:gd name="connsiteX1" fmla="*/ 1087161 w 1087161"/>
                  <a:gd name="connsiteY1" fmla="*/ 0 h 529845"/>
                  <a:gd name="connsiteX2" fmla="*/ 1087161 w 1087161"/>
                  <a:gd name="connsiteY2" fmla="*/ 529845 h 529845"/>
                  <a:gd name="connsiteX3" fmla="*/ 0 w 1087161"/>
                  <a:gd name="connsiteY3" fmla="*/ 529845 h 529845"/>
                  <a:gd name="connsiteX4" fmla="*/ 0 w 1087161"/>
                  <a:gd name="connsiteY4" fmla="*/ 0 h 529845"/>
                  <a:gd name="connsiteX0" fmla="*/ 38100 w 1087161"/>
                  <a:gd name="connsiteY0" fmla="*/ 0 h 567945"/>
                  <a:gd name="connsiteX1" fmla="*/ 1087161 w 1087161"/>
                  <a:gd name="connsiteY1" fmla="*/ 3810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087161"/>
                  <a:gd name="connsiteY0" fmla="*/ 0 h 567945"/>
                  <a:gd name="connsiteX1" fmla="*/ 1041441 w 1087161"/>
                  <a:gd name="connsiteY1" fmla="*/ 762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0 w 1110021"/>
                  <a:gd name="connsiteY3" fmla="*/ 567945 h 567945"/>
                  <a:gd name="connsiteX4" fmla="*/ 38100 w 111002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1087161 w 1110021"/>
                  <a:gd name="connsiteY3" fmla="*/ 538639 h 567945"/>
                  <a:gd name="connsiteX4" fmla="*/ 0 w 1110021"/>
                  <a:gd name="connsiteY4" fmla="*/ 567945 h 567945"/>
                  <a:gd name="connsiteX5" fmla="*/ 38100 w 1110021"/>
                  <a:gd name="connsiteY5" fmla="*/ 0 h 567945"/>
                  <a:gd name="connsiteX0" fmla="*/ 0 w 1071921"/>
                  <a:gd name="connsiteY0" fmla="*/ 0 h 538639"/>
                  <a:gd name="connsiteX1" fmla="*/ 1003341 w 1071921"/>
                  <a:gd name="connsiteY1" fmla="*/ 7620 h 538639"/>
                  <a:gd name="connsiteX2" fmla="*/ 1071921 w 1071921"/>
                  <a:gd name="connsiteY2" fmla="*/ 362205 h 538639"/>
                  <a:gd name="connsiteX3" fmla="*/ 1049061 w 1071921"/>
                  <a:gd name="connsiteY3" fmla="*/ 538639 h 538639"/>
                  <a:gd name="connsiteX4" fmla="*/ 0 w 1071921"/>
                  <a:gd name="connsiteY4" fmla="*/ 537465 h 538639"/>
                  <a:gd name="connsiteX5" fmla="*/ 0 w 1071921"/>
                  <a:gd name="connsiteY5" fmla="*/ 0 h 53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1921" h="538639">
                    <a:moveTo>
                      <a:pt x="0" y="0"/>
                    </a:moveTo>
                    <a:lnTo>
                      <a:pt x="1003341" y="7620"/>
                    </a:lnTo>
                    <a:lnTo>
                      <a:pt x="1071921" y="362205"/>
                    </a:lnTo>
                    <a:cubicBezTo>
                      <a:pt x="1023661" y="367676"/>
                      <a:pt x="1097321" y="533168"/>
                      <a:pt x="1049061" y="538639"/>
                    </a:cubicBezTo>
                    <a:lnTo>
                      <a:pt x="0" y="5374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pic>
            <p:nvPicPr>
              <p:cNvPr id="78" name="Gráfico 77" descr="Autobús con relleno sólido">
                <a:extLst>
                  <a:ext uri="{FF2B5EF4-FFF2-40B4-BE49-F238E27FC236}">
                    <a16:creationId xmlns:a16="http://schemas.microsoft.com/office/drawing/2014/main" id="{FE628496-9C92-D7AC-F20E-F207AA92D9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195678" y="2015971"/>
                <a:ext cx="1260000" cy="1260000"/>
              </a:xfrm>
              <a:prstGeom prst="rect">
                <a:avLst/>
              </a:prstGeom>
            </p:spPr>
          </p:pic>
        </p:grpSp>
        <p:grpSp>
          <p:nvGrpSpPr>
            <p:cNvPr id="79" name="Grupo 78">
              <a:extLst>
                <a:ext uri="{FF2B5EF4-FFF2-40B4-BE49-F238E27FC236}">
                  <a16:creationId xmlns:a16="http://schemas.microsoft.com/office/drawing/2014/main" id="{8F7C48E2-7353-E6CD-1D23-EDE904C63EFD}"/>
                </a:ext>
              </a:extLst>
            </p:cNvPr>
            <p:cNvGrpSpPr/>
            <p:nvPr/>
          </p:nvGrpSpPr>
          <p:grpSpPr>
            <a:xfrm>
              <a:off x="9401126" y="2091834"/>
              <a:ext cx="1260000" cy="1260000"/>
              <a:chOff x="6408252" y="2399981"/>
              <a:chExt cx="1260000" cy="1260000"/>
            </a:xfrm>
          </p:grpSpPr>
          <p:sp>
            <p:nvSpPr>
              <p:cNvPr id="80" name="Rectángulo 64">
                <a:extLst>
                  <a:ext uri="{FF2B5EF4-FFF2-40B4-BE49-F238E27FC236}">
                    <a16:creationId xmlns:a16="http://schemas.microsoft.com/office/drawing/2014/main" id="{A355AFE9-89BB-6CA5-065F-AE59D38B06A8}"/>
                  </a:ext>
                </a:extLst>
              </p:cNvPr>
              <p:cNvSpPr/>
              <p:nvPr/>
            </p:nvSpPr>
            <p:spPr>
              <a:xfrm>
                <a:off x="6509911" y="2742356"/>
                <a:ext cx="1071921" cy="538639"/>
              </a:xfrm>
              <a:custGeom>
                <a:avLst/>
                <a:gdLst>
                  <a:gd name="connsiteX0" fmla="*/ 0 w 1087161"/>
                  <a:gd name="connsiteY0" fmla="*/ 0 h 529845"/>
                  <a:gd name="connsiteX1" fmla="*/ 1087161 w 1087161"/>
                  <a:gd name="connsiteY1" fmla="*/ 0 h 529845"/>
                  <a:gd name="connsiteX2" fmla="*/ 1087161 w 1087161"/>
                  <a:gd name="connsiteY2" fmla="*/ 529845 h 529845"/>
                  <a:gd name="connsiteX3" fmla="*/ 0 w 1087161"/>
                  <a:gd name="connsiteY3" fmla="*/ 529845 h 529845"/>
                  <a:gd name="connsiteX4" fmla="*/ 0 w 1087161"/>
                  <a:gd name="connsiteY4" fmla="*/ 0 h 529845"/>
                  <a:gd name="connsiteX0" fmla="*/ 38100 w 1087161"/>
                  <a:gd name="connsiteY0" fmla="*/ 0 h 567945"/>
                  <a:gd name="connsiteX1" fmla="*/ 1087161 w 1087161"/>
                  <a:gd name="connsiteY1" fmla="*/ 3810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087161"/>
                  <a:gd name="connsiteY0" fmla="*/ 0 h 567945"/>
                  <a:gd name="connsiteX1" fmla="*/ 1041441 w 1087161"/>
                  <a:gd name="connsiteY1" fmla="*/ 762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0 w 1110021"/>
                  <a:gd name="connsiteY3" fmla="*/ 567945 h 567945"/>
                  <a:gd name="connsiteX4" fmla="*/ 38100 w 111002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1087161 w 1110021"/>
                  <a:gd name="connsiteY3" fmla="*/ 538639 h 567945"/>
                  <a:gd name="connsiteX4" fmla="*/ 0 w 1110021"/>
                  <a:gd name="connsiteY4" fmla="*/ 567945 h 567945"/>
                  <a:gd name="connsiteX5" fmla="*/ 38100 w 1110021"/>
                  <a:gd name="connsiteY5" fmla="*/ 0 h 567945"/>
                  <a:gd name="connsiteX0" fmla="*/ 0 w 1071921"/>
                  <a:gd name="connsiteY0" fmla="*/ 0 h 538639"/>
                  <a:gd name="connsiteX1" fmla="*/ 1003341 w 1071921"/>
                  <a:gd name="connsiteY1" fmla="*/ 7620 h 538639"/>
                  <a:gd name="connsiteX2" fmla="*/ 1071921 w 1071921"/>
                  <a:gd name="connsiteY2" fmla="*/ 362205 h 538639"/>
                  <a:gd name="connsiteX3" fmla="*/ 1049061 w 1071921"/>
                  <a:gd name="connsiteY3" fmla="*/ 538639 h 538639"/>
                  <a:gd name="connsiteX4" fmla="*/ 0 w 1071921"/>
                  <a:gd name="connsiteY4" fmla="*/ 537465 h 538639"/>
                  <a:gd name="connsiteX5" fmla="*/ 0 w 1071921"/>
                  <a:gd name="connsiteY5" fmla="*/ 0 h 53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1921" h="538639">
                    <a:moveTo>
                      <a:pt x="0" y="0"/>
                    </a:moveTo>
                    <a:lnTo>
                      <a:pt x="1003341" y="7620"/>
                    </a:lnTo>
                    <a:lnTo>
                      <a:pt x="1071921" y="362205"/>
                    </a:lnTo>
                    <a:cubicBezTo>
                      <a:pt x="1023661" y="367676"/>
                      <a:pt x="1097321" y="533168"/>
                      <a:pt x="1049061" y="538639"/>
                    </a:cubicBezTo>
                    <a:lnTo>
                      <a:pt x="0" y="5374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pic>
            <p:nvPicPr>
              <p:cNvPr id="81" name="Gráfico 80" descr="Autobús con relleno sólido">
                <a:extLst>
                  <a:ext uri="{FF2B5EF4-FFF2-40B4-BE49-F238E27FC236}">
                    <a16:creationId xmlns:a16="http://schemas.microsoft.com/office/drawing/2014/main" id="{442A1003-1ED2-F46F-B32F-985C044EA7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408252" y="2399981"/>
                <a:ext cx="1260000" cy="1260000"/>
              </a:xfrm>
              <a:prstGeom prst="rect">
                <a:avLst/>
              </a:prstGeom>
            </p:spPr>
          </p:pic>
        </p:grpSp>
      </p:grpSp>
      <p:grpSp>
        <p:nvGrpSpPr>
          <p:cNvPr id="3" name="Grupo 2">
            <a:extLst>
              <a:ext uri="{FF2B5EF4-FFF2-40B4-BE49-F238E27FC236}">
                <a16:creationId xmlns:a16="http://schemas.microsoft.com/office/drawing/2014/main" id="{B9B84B1F-A93F-BAE1-9DBA-223DEFF3E1C5}"/>
              </a:ext>
            </a:extLst>
          </p:cNvPr>
          <p:cNvGrpSpPr/>
          <p:nvPr/>
        </p:nvGrpSpPr>
        <p:grpSpPr>
          <a:xfrm>
            <a:off x="5517957" y="4513086"/>
            <a:ext cx="1078355" cy="1274359"/>
            <a:chOff x="5472532" y="4446502"/>
            <a:chExt cx="1078355" cy="1274359"/>
          </a:xfrm>
        </p:grpSpPr>
        <p:pic>
          <p:nvPicPr>
            <p:cNvPr id="82" name="Imagen 81">
              <a:extLst>
                <a:ext uri="{FF2B5EF4-FFF2-40B4-BE49-F238E27FC236}">
                  <a16:creationId xmlns:a16="http://schemas.microsoft.com/office/drawing/2014/main" id="{C3E0E894-7F6F-4686-176F-2356DD79B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EDEDED"/>
                </a:clrFrom>
                <a:clrTo>
                  <a:srgbClr val="EDEDED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005560" y="4446502"/>
              <a:ext cx="457957" cy="497124"/>
            </a:xfrm>
            <a:prstGeom prst="rect">
              <a:avLst/>
            </a:prstGeom>
          </p:spPr>
        </p:pic>
        <p:pic>
          <p:nvPicPr>
            <p:cNvPr id="84" name="Gráfico 83" descr="Combustible con relleno sólido">
              <a:extLst>
                <a:ext uri="{FF2B5EF4-FFF2-40B4-BE49-F238E27FC236}">
                  <a16:creationId xmlns:a16="http://schemas.microsoft.com/office/drawing/2014/main" id="{9B42C1E7-9D49-6550-02E5-FA55144DA0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472532" y="4642506"/>
              <a:ext cx="1078355" cy="1078355"/>
            </a:xfrm>
            <a:prstGeom prst="rect">
              <a:avLst/>
            </a:prstGeom>
          </p:spPr>
        </p:pic>
      </p:grpSp>
      <p:grpSp>
        <p:nvGrpSpPr>
          <p:cNvPr id="2" name="Grupo 1">
            <a:extLst>
              <a:ext uri="{FF2B5EF4-FFF2-40B4-BE49-F238E27FC236}">
                <a16:creationId xmlns:a16="http://schemas.microsoft.com/office/drawing/2014/main" id="{32FBBB14-9692-A1B4-E2BB-5973FC51A4BE}"/>
              </a:ext>
            </a:extLst>
          </p:cNvPr>
          <p:cNvGrpSpPr/>
          <p:nvPr/>
        </p:nvGrpSpPr>
        <p:grpSpPr>
          <a:xfrm>
            <a:off x="5123319" y="1792439"/>
            <a:ext cx="1867630" cy="1559395"/>
            <a:chOff x="5035420" y="1792439"/>
            <a:chExt cx="1867630" cy="1559395"/>
          </a:xfrm>
        </p:grpSpPr>
        <p:grpSp>
          <p:nvGrpSpPr>
            <p:cNvPr id="91" name="Grupo 90">
              <a:extLst>
                <a:ext uri="{FF2B5EF4-FFF2-40B4-BE49-F238E27FC236}">
                  <a16:creationId xmlns:a16="http://schemas.microsoft.com/office/drawing/2014/main" id="{2EF9B154-EBC7-3FD5-1B95-BF04FAC0B133}"/>
                </a:ext>
              </a:extLst>
            </p:cNvPr>
            <p:cNvGrpSpPr/>
            <p:nvPr/>
          </p:nvGrpSpPr>
          <p:grpSpPr>
            <a:xfrm>
              <a:off x="5035420" y="1792439"/>
              <a:ext cx="1260000" cy="1260000"/>
              <a:chOff x="4882287" y="1993421"/>
              <a:chExt cx="1260000" cy="1260000"/>
            </a:xfrm>
          </p:grpSpPr>
          <p:sp>
            <p:nvSpPr>
              <p:cNvPr id="92" name="Rectángulo 64">
                <a:extLst>
                  <a:ext uri="{FF2B5EF4-FFF2-40B4-BE49-F238E27FC236}">
                    <a16:creationId xmlns:a16="http://schemas.microsoft.com/office/drawing/2014/main" id="{78FA70AB-424D-DF33-A94A-4FB8292EE1AF}"/>
                  </a:ext>
                </a:extLst>
              </p:cNvPr>
              <p:cNvSpPr/>
              <p:nvPr/>
            </p:nvSpPr>
            <p:spPr>
              <a:xfrm>
                <a:off x="4992194" y="2345953"/>
                <a:ext cx="1071921" cy="538639"/>
              </a:xfrm>
              <a:custGeom>
                <a:avLst/>
                <a:gdLst>
                  <a:gd name="connsiteX0" fmla="*/ 0 w 1087161"/>
                  <a:gd name="connsiteY0" fmla="*/ 0 h 529845"/>
                  <a:gd name="connsiteX1" fmla="*/ 1087161 w 1087161"/>
                  <a:gd name="connsiteY1" fmla="*/ 0 h 529845"/>
                  <a:gd name="connsiteX2" fmla="*/ 1087161 w 1087161"/>
                  <a:gd name="connsiteY2" fmla="*/ 529845 h 529845"/>
                  <a:gd name="connsiteX3" fmla="*/ 0 w 1087161"/>
                  <a:gd name="connsiteY3" fmla="*/ 529845 h 529845"/>
                  <a:gd name="connsiteX4" fmla="*/ 0 w 1087161"/>
                  <a:gd name="connsiteY4" fmla="*/ 0 h 529845"/>
                  <a:gd name="connsiteX0" fmla="*/ 38100 w 1087161"/>
                  <a:gd name="connsiteY0" fmla="*/ 0 h 567945"/>
                  <a:gd name="connsiteX1" fmla="*/ 1087161 w 1087161"/>
                  <a:gd name="connsiteY1" fmla="*/ 3810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087161"/>
                  <a:gd name="connsiteY0" fmla="*/ 0 h 567945"/>
                  <a:gd name="connsiteX1" fmla="*/ 1041441 w 1087161"/>
                  <a:gd name="connsiteY1" fmla="*/ 762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0 w 1110021"/>
                  <a:gd name="connsiteY3" fmla="*/ 567945 h 567945"/>
                  <a:gd name="connsiteX4" fmla="*/ 38100 w 111002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1087161 w 1110021"/>
                  <a:gd name="connsiteY3" fmla="*/ 538639 h 567945"/>
                  <a:gd name="connsiteX4" fmla="*/ 0 w 1110021"/>
                  <a:gd name="connsiteY4" fmla="*/ 567945 h 567945"/>
                  <a:gd name="connsiteX5" fmla="*/ 38100 w 1110021"/>
                  <a:gd name="connsiteY5" fmla="*/ 0 h 567945"/>
                  <a:gd name="connsiteX0" fmla="*/ 0 w 1071921"/>
                  <a:gd name="connsiteY0" fmla="*/ 0 h 538639"/>
                  <a:gd name="connsiteX1" fmla="*/ 1003341 w 1071921"/>
                  <a:gd name="connsiteY1" fmla="*/ 7620 h 538639"/>
                  <a:gd name="connsiteX2" fmla="*/ 1071921 w 1071921"/>
                  <a:gd name="connsiteY2" fmla="*/ 362205 h 538639"/>
                  <a:gd name="connsiteX3" fmla="*/ 1049061 w 1071921"/>
                  <a:gd name="connsiteY3" fmla="*/ 538639 h 538639"/>
                  <a:gd name="connsiteX4" fmla="*/ 0 w 1071921"/>
                  <a:gd name="connsiteY4" fmla="*/ 537465 h 538639"/>
                  <a:gd name="connsiteX5" fmla="*/ 0 w 1071921"/>
                  <a:gd name="connsiteY5" fmla="*/ 0 h 53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1921" h="538639">
                    <a:moveTo>
                      <a:pt x="0" y="0"/>
                    </a:moveTo>
                    <a:lnTo>
                      <a:pt x="1003341" y="7620"/>
                    </a:lnTo>
                    <a:lnTo>
                      <a:pt x="1071921" y="362205"/>
                    </a:lnTo>
                    <a:cubicBezTo>
                      <a:pt x="1023661" y="367676"/>
                      <a:pt x="1097321" y="533168"/>
                      <a:pt x="1049061" y="538639"/>
                    </a:cubicBezTo>
                    <a:lnTo>
                      <a:pt x="0" y="5374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pic>
            <p:nvPicPr>
              <p:cNvPr id="93" name="Gráfico 92" descr="Autobús con relleno sólido">
                <a:extLst>
                  <a:ext uri="{FF2B5EF4-FFF2-40B4-BE49-F238E27FC236}">
                    <a16:creationId xmlns:a16="http://schemas.microsoft.com/office/drawing/2014/main" id="{C87EBFB9-5851-EBD9-1A75-5CD5BCA703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4882287" y="1993421"/>
                <a:ext cx="1260000" cy="1260000"/>
              </a:xfrm>
              <a:prstGeom prst="rect">
                <a:avLst/>
              </a:prstGeom>
            </p:spPr>
          </p:pic>
        </p:grpSp>
        <p:grpSp>
          <p:nvGrpSpPr>
            <p:cNvPr id="94" name="Grupo 93">
              <a:extLst>
                <a:ext uri="{FF2B5EF4-FFF2-40B4-BE49-F238E27FC236}">
                  <a16:creationId xmlns:a16="http://schemas.microsoft.com/office/drawing/2014/main" id="{32B2C0DE-CAAC-50EE-BB4F-723C7964E16D}"/>
                </a:ext>
              </a:extLst>
            </p:cNvPr>
            <p:cNvGrpSpPr/>
            <p:nvPr/>
          </p:nvGrpSpPr>
          <p:grpSpPr>
            <a:xfrm>
              <a:off x="5345909" y="1943156"/>
              <a:ext cx="1260000" cy="1260000"/>
              <a:chOff x="3195678" y="2015971"/>
              <a:chExt cx="1260000" cy="1260000"/>
            </a:xfrm>
          </p:grpSpPr>
          <p:sp>
            <p:nvSpPr>
              <p:cNvPr id="95" name="Rectángulo 64">
                <a:extLst>
                  <a:ext uri="{FF2B5EF4-FFF2-40B4-BE49-F238E27FC236}">
                    <a16:creationId xmlns:a16="http://schemas.microsoft.com/office/drawing/2014/main" id="{19472035-E388-2F00-E853-28365E1C45A9}"/>
                  </a:ext>
                </a:extLst>
              </p:cNvPr>
              <p:cNvSpPr/>
              <p:nvPr/>
            </p:nvSpPr>
            <p:spPr>
              <a:xfrm>
                <a:off x="3289090" y="2362427"/>
                <a:ext cx="1071921" cy="538639"/>
              </a:xfrm>
              <a:custGeom>
                <a:avLst/>
                <a:gdLst>
                  <a:gd name="connsiteX0" fmla="*/ 0 w 1087161"/>
                  <a:gd name="connsiteY0" fmla="*/ 0 h 529845"/>
                  <a:gd name="connsiteX1" fmla="*/ 1087161 w 1087161"/>
                  <a:gd name="connsiteY1" fmla="*/ 0 h 529845"/>
                  <a:gd name="connsiteX2" fmla="*/ 1087161 w 1087161"/>
                  <a:gd name="connsiteY2" fmla="*/ 529845 h 529845"/>
                  <a:gd name="connsiteX3" fmla="*/ 0 w 1087161"/>
                  <a:gd name="connsiteY3" fmla="*/ 529845 h 529845"/>
                  <a:gd name="connsiteX4" fmla="*/ 0 w 1087161"/>
                  <a:gd name="connsiteY4" fmla="*/ 0 h 529845"/>
                  <a:gd name="connsiteX0" fmla="*/ 38100 w 1087161"/>
                  <a:gd name="connsiteY0" fmla="*/ 0 h 567945"/>
                  <a:gd name="connsiteX1" fmla="*/ 1087161 w 1087161"/>
                  <a:gd name="connsiteY1" fmla="*/ 3810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087161"/>
                  <a:gd name="connsiteY0" fmla="*/ 0 h 567945"/>
                  <a:gd name="connsiteX1" fmla="*/ 1041441 w 1087161"/>
                  <a:gd name="connsiteY1" fmla="*/ 762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0 w 1110021"/>
                  <a:gd name="connsiteY3" fmla="*/ 567945 h 567945"/>
                  <a:gd name="connsiteX4" fmla="*/ 38100 w 111002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1087161 w 1110021"/>
                  <a:gd name="connsiteY3" fmla="*/ 538639 h 567945"/>
                  <a:gd name="connsiteX4" fmla="*/ 0 w 1110021"/>
                  <a:gd name="connsiteY4" fmla="*/ 567945 h 567945"/>
                  <a:gd name="connsiteX5" fmla="*/ 38100 w 1110021"/>
                  <a:gd name="connsiteY5" fmla="*/ 0 h 567945"/>
                  <a:gd name="connsiteX0" fmla="*/ 0 w 1071921"/>
                  <a:gd name="connsiteY0" fmla="*/ 0 h 538639"/>
                  <a:gd name="connsiteX1" fmla="*/ 1003341 w 1071921"/>
                  <a:gd name="connsiteY1" fmla="*/ 7620 h 538639"/>
                  <a:gd name="connsiteX2" fmla="*/ 1071921 w 1071921"/>
                  <a:gd name="connsiteY2" fmla="*/ 362205 h 538639"/>
                  <a:gd name="connsiteX3" fmla="*/ 1049061 w 1071921"/>
                  <a:gd name="connsiteY3" fmla="*/ 538639 h 538639"/>
                  <a:gd name="connsiteX4" fmla="*/ 0 w 1071921"/>
                  <a:gd name="connsiteY4" fmla="*/ 537465 h 538639"/>
                  <a:gd name="connsiteX5" fmla="*/ 0 w 1071921"/>
                  <a:gd name="connsiteY5" fmla="*/ 0 h 53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1921" h="538639">
                    <a:moveTo>
                      <a:pt x="0" y="0"/>
                    </a:moveTo>
                    <a:lnTo>
                      <a:pt x="1003341" y="7620"/>
                    </a:lnTo>
                    <a:lnTo>
                      <a:pt x="1071921" y="362205"/>
                    </a:lnTo>
                    <a:cubicBezTo>
                      <a:pt x="1023661" y="367676"/>
                      <a:pt x="1097321" y="533168"/>
                      <a:pt x="1049061" y="538639"/>
                    </a:cubicBezTo>
                    <a:lnTo>
                      <a:pt x="0" y="5374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pic>
            <p:nvPicPr>
              <p:cNvPr id="96" name="Gráfico 95" descr="Autobús con relleno sólido">
                <a:extLst>
                  <a:ext uri="{FF2B5EF4-FFF2-40B4-BE49-F238E27FC236}">
                    <a16:creationId xmlns:a16="http://schemas.microsoft.com/office/drawing/2014/main" id="{01FA5338-C17F-18AF-9E79-E6E0623BDF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195678" y="2015971"/>
                <a:ext cx="1260000" cy="1260000"/>
              </a:xfrm>
              <a:prstGeom prst="rect">
                <a:avLst/>
              </a:prstGeom>
            </p:spPr>
          </p:pic>
        </p:grpSp>
        <p:grpSp>
          <p:nvGrpSpPr>
            <p:cNvPr id="97" name="Grupo 96">
              <a:extLst>
                <a:ext uri="{FF2B5EF4-FFF2-40B4-BE49-F238E27FC236}">
                  <a16:creationId xmlns:a16="http://schemas.microsoft.com/office/drawing/2014/main" id="{40C04E5A-8A32-2299-2A9E-E9262E2302D3}"/>
                </a:ext>
              </a:extLst>
            </p:cNvPr>
            <p:cNvGrpSpPr/>
            <p:nvPr/>
          </p:nvGrpSpPr>
          <p:grpSpPr>
            <a:xfrm>
              <a:off x="5643050" y="2091834"/>
              <a:ext cx="1260000" cy="1260000"/>
              <a:chOff x="6408252" y="2399981"/>
              <a:chExt cx="1260000" cy="1260000"/>
            </a:xfrm>
          </p:grpSpPr>
          <p:sp>
            <p:nvSpPr>
              <p:cNvPr id="98" name="Rectángulo 64">
                <a:extLst>
                  <a:ext uri="{FF2B5EF4-FFF2-40B4-BE49-F238E27FC236}">
                    <a16:creationId xmlns:a16="http://schemas.microsoft.com/office/drawing/2014/main" id="{0C9F5EF1-2336-3B95-DD5F-FFE6291B4F40}"/>
                  </a:ext>
                </a:extLst>
              </p:cNvPr>
              <p:cNvSpPr/>
              <p:nvPr/>
            </p:nvSpPr>
            <p:spPr>
              <a:xfrm>
                <a:off x="6509911" y="2742356"/>
                <a:ext cx="1071921" cy="538639"/>
              </a:xfrm>
              <a:custGeom>
                <a:avLst/>
                <a:gdLst>
                  <a:gd name="connsiteX0" fmla="*/ 0 w 1087161"/>
                  <a:gd name="connsiteY0" fmla="*/ 0 h 529845"/>
                  <a:gd name="connsiteX1" fmla="*/ 1087161 w 1087161"/>
                  <a:gd name="connsiteY1" fmla="*/ 0 h 529845"/>
                  <a:gd name="connsiteX2" fmla="*/ 1087161 w 1087161"/>
                  <a:gd name="connsiteY2" fmla="*/ 529845 h 529845"/>
                  <a:gd name="connsiteX3" fmla="*/ 0 w 1087161"/>
                  <a:gd name="connsiteY3" fmla="*/ 529845 h 529845"/>
                  <a:gd name="connsiteX4" fmla="*/ 0 w 1087161"/>
                  <a:gd name="connsiteY4" fmla="*/ 0 h 529845"/>
                  <a:gd name="connsiteX0" fmla="*/ 38100 w 1087161"/>
                  <a:gd name="connsiteY0" fmla="*/ 0 h 567945"/>
                  <a:gd name="connsiteX1" fmla="*/ 1087161 w 1087161"/>
                  <a:gd name="connsiteY1" fmla="*/ 3810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087161"/>
                  <a:gd name="connsiteY0" fmla="*/ 0 h 567945"/>
                  <a:gd name="connsiteX1" fmla="*/ 1041441 w 1087161"/>
                  <a:gd name="connsiteY1" fmla="*/ 762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0 w 1110021"/>
                  <a:gd name="connsiteY3" fmla="*/ 567945 h 567945"/>
                  <a:gd name="connsiteX4" fmla="*/ 38100 w 111002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1087161 w 1110021"/>
                  <a:gd name="connsiteY3" fmla="*/ 538639 h 567945"/>
                  <a:gd name="connsiteX4" fmla="*/ 0 w 1110021"/>
                  <a:gd name="connsiteY4" fmla="*/ 567945 h 567945"/>
                  <a:gd name="connsiteX5" fmla="*/ 38100 w 1110021"/>
                  <a:gd name="connsiteY5" fmla="*/ 0 h 567945"/>
                  <a:gd name="connsiteX0" fmla="*/ 0 w 1071921"/>
                  <a:gd name="connsiteY0" fmla="*/ 0 h 538639"/>
                  <a:gd name="connsiteX1" fmla="*/ 1003341 w 1071921"/>
                  <a:gd name="connsiteY1" fmla="*/ 7620 h 538639"/>
                  <a:gd name="connsiteX2" fmla="*/ 1071921 w 1071921"/>
                  <a:gd name="connsiteY2" fmla="*/ 362205 h 538639"/>
                  <a:gd name="connsiteX3" fmla="*/ 1049061 w 1071921"/>
                  <a:gd name="connsiteY3" fmla="*/ 538639 h 538639"/>
                  <a:gd name="connsiteX4" fmla="*/ 0 w 1071921"/>
                  <a:gd name="connsiteY4" fmla="*/ 537465 h 538639"/>
                  <a:gd name="connsiteX5" fmla="*/ 0 w 1071921"/>
                  <a:gd name="connsiteY5" fmla="*/ 0 h 53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1921" h="538639">
                    <a:moveTo>
                      <a:pt x="0" y="0"/>
                    </a:moveTo>
                    <a:lnTo>
                      <a:pt x="1003341" y="7620"/>
                    </a:lnTo>
                    <a:lnTo>
                      <a:pt x="1071921" y="362205"/>
                    </a:lnTo>
                    <a:cubicBezTo>
                      <a:pt x="1023661" y="367676"/>
                      <a:pt x="1097321" y="533168"/>
                      <a:pt x="1049061" y="538639"/>
                    </a:cubicBezTo>
                    <a:lnTo>
                      <a:pt x="0" y="5374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pic>
            <p:nvPicPr>
              <p:cNvPr id="99" name="Gráfico 98" descr="Autobús con relleno sólido">
                <a:extLst>
                  <a:ext uri="{FF2B5EF4-FFF2-40B4-BE49-F238E27FC236}">
                    <a16:creationId xmlns:a16="http://schemas.microsoft.com/office/drawing/2014/main" id="{6997D4B2-136E-E153-DB10-C8424A9359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408252" y="2399981"/>
                <a:ext cx="1260000" cy="1260000"/>
              </a:xfrm>
              <a:prstGeom prst="rect">
                <a:avLst/>
              </a:prstGeom>
            </p:spPr>
          </p:pic>
        </p:grpSp>
      </p:grpSp>
      <p:grpSp>
        <p:nvGrpSpPr>
          <p:cNvPr id="110" name="Grupo 109">
            <a:extLst>
              <a:ext uri="{FF2B5EF4-FFF2-40B4-BE49-F238E27FC236}">
                <a16:creationId xmlns:a16="http://schemas.microsoft.com/office/drawing/2014/main" id="{133BB098-EAD5-8DF7-CC7D-7924307B4CF6}"/>
              </a:ext>
            </a:extLst>
          </p:cNvPr>
          <p:cNvGrpSpPr/>
          <p:nvPr/>
        </p:nvGrpSpPr>
        <p:grpSpPr>
          <a:xfrm>
            <a:off x="1473879" y="4600592"/>
            <a:ext cx="2001646" cy="1379975"/>
            <a:chOff x="5009760" y="4653286"/>
            <a:chExt cx="2001646" cy="1379975"/>
          </a:xfrm>
        </p:grpSpPr>
        <p:sp>
          <p:nvSpPr>
            <p:cNvPr id="88" name="Rectángulo 87">
              <a:extLst>
                <a:ext uri="{FF2B5EF4-FFF2-40B4-BE49-F238E27FC236}">
                  <a16:creationId xmlns:a16="http://schemas.microsoft.com/office/drawing/2014/main" id="{D472EB40-9DAE-E6F0-6CF0-8A516BF04FA4}"/>
                </a:ext>
              </a:extLst>
            </p:cNvPr>
            <p:cNvSpPr/>
            <p:nvPr/>
          </p:nvSpPr>
          <p:spPr>
            <a:xfrm>
              <a:off x="5217658" y="4829959"/>
              <a:ext cx="92472" cy="832711"/>
            </a:xfrm>
            <a:prstGeom prst="rect">
              <a:avLst/>
            </a:prstGeom>
            <a:effectLst>
              <a:softEdge rad="12700"/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89" name="Rectángulo 88">
              <a:extLst>
                <a:ext uri="{FF2B5EF4-FFF2-40B4-BE49-F238E27FC236}">
                  <a16:creationId xmlns:a16="http://schemas.microsoft.com/office/drawing/2014/main" id="{F437F825-326F-311E-AABB-3C30CDD0231F}"/>
                </a:ext>
              </a:extLst>
            </p:cNvPr>
            <p:cNvSpPr/>
            <p:nvPr/>
          </p:nvSpPr>
          <p:spPr>
            <a:xfrm>
              <a:off x="6548816" y="4829959"/>
              <a:ext cx="92472" cy="832711"/>
            </a:xfrm>
            <a:prstGeom prst="rect">
              <a:avLst/>
            </a:prstGeom>
            <a:effectLst>
              <a:softEdge rad="12700"/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90" name="Rectángulo 89">
              <a:extLst>
                <a:ext uri="{FF2B5EF4-FFF2-40B4-BE49-F238E27FC236}">
                  <a16:creationId xmlns:a16="http://schemas.microsoft.com/office/drawing/2014/main" id="{E5314CA6-F7D0-BA7E-7B4F-52E3DF9A70F5}"/>
                </a:ext>
              </a:extLst>
            </p:cNvPr>
            <p:cNvSpPr/>
            <p:nvPr/>
          </p:nvSpPr>
          <p:spPr>
            <a:xfrm rot="5400000">
              <a:off x="5924116" y="3738931"/>
              <a:ext cx="172935" cy="2001645"/>
            </a:xfrm>
            <a:prstGeom prst="rect">
              <a:avLst/>
            </a:prstGeom>
            <a:effectLst>
              <a:softEdge rad="12700"/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grpSp>
          <p:nvGrpSpPr>
            <p:cNvPr id="106" name="Grupo 105">
              <a:extLst>
                <a:ext uri="{FF2B5EF4-FFF2-40B4-BE49-F238E27FC236}">
                  <a16:creationId xmlns:a16="http://schemas.microsoft.com/office/drawing/2014/main" id="{7DB59B7F-D84C-96BB-5739-0638A79EFC39}"/>
                </a:ext>
              </a:extLst>
            </p:cNvPr>
            <p:cNvGrpSpPr/>
            <p:nvPr/>
          </p:nvGrpSpPr>
          <p:grpSpPr>
            <a:xfrm>
              <a:off x="5069061" y="4773261"/>
              <a:ext cx="1260000" cy="1260000"/>
              <a:chOff x="6408252" y="2399981"/>
              <a:chExt cx="1260000" cy="1260000"/>
            </a:xfrm>
          </p:grpSpPr>
          <p:sp>
            <p:nvSpPr>
              <p:cNvPr id="107" name="Rectángulo 64">
                <a:extLst>
                  <a:ext uri="{FF2B5EF4-FFF2-40B4-BE49-F238E27FC236}">
                    <a16:creationId xmlns:a16="http://schemas.microsoft.com/office/drawing/2014/main" id="{BB7BB755-3365-4F2B-1653-8FFC5E57C627}"/>
                  </a:ext>
                </a:extLst>
              </p:cNvPr>
              <p:cNvSpPr/>
              <p:nvPr/>
            </p:nvSpPr>
            <p:spPr>
              <a:xfrm>
                <a:off x="6509911" y="2742356"/>
                <a:ext cx="1071921" cy="538639"/>
              </a:xfrm>
              <a:custGeom>
                <a:avLst/>
                <a:gdLst>
                  <a:gd name="connsiteX0" fmla="*/ 0 w 1087161"/>
                  <a:gd name="connsiteY0" fmla="*/ 0 h 529845"/>
                  <a:gd name="connsiteX1" fmla="*/ 1087161 w 1087161"/>
                  <a:gd name="connsiteY1" fmla="*/ 0 h 529845"/>
                  <a:gd name="connsiteX2" fmla="*/ 1087161 w 1087161"/>
                  <a:gd name="connsiteY2" fmla="*/ 529845 h 529845"/>
                  <a:gd name="connsiteX3" fmla="*/ 0 w 1087161"/>
                  <a:gd name="connsiteY3" fmla="*/ 529845 h 529845"/>
                  <a:gd name="connsiteX4" fmla="*/ 0 w 1087161"/>
                  <a:gd name="connsiteY4" fmla="*/ 0 h 529845"/>
                  <a:gd name="connsiteX0" fmla="*/ 38100 w 1087161"/>
                  <a:gd name="connsiteY0" fmla="*/ 0 h 567945"/>
                  <a:gd name="connsiteX1" fmla="*/ 1087161 w 1087161"/>
                  <a:gd name="connsiteY1" fmla="*/ 3810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087161"/>
                  <a:gd name="connsiteY0" fmla="*/ 0 h 567945"/>
                  <a:gd name="connsiteX1" fmla="*/ 1041441 w 1087161"/>
                  <a:gd name="connsiteY1" fmla="*/ 7620 h 567945"/>
                  <a:gd name="connsiteX2" fmla="*/ 1087161 w 1087161"/>
                  <a:gd name="connsiteY2" fmla="*/ 567945 h 567945"/>
                  <a:gd name="connsiteX3" fmla="*/ 0 w 1087161"/>
                  <a:gd name="connsiteY3" fmla="*/ 567945 h 567945"/>
                  <a:gd name="connsiteX4" fmla="*/ 38100 w 108716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0 w 1110021"/>
                  <a:gd name="connsiteY3" fmla="*/ 567945 h 567945"/>
                  <a:gd name="connsiteX4" fmla="*/ 38100 w 1110021"/>
                  <a:gd name="connsiteY4" fmla="*/ 0 h 567945"/>
                  <a:gd name="connsiteX0" fmla="*/ 38100 w 1110021"/>
                  <a:gd name="connsiteY0" fmla="*/ 0 h 567945"/>
                  <a:gd name="connsiteX1" fmla="*/ 1041441 w 1110021"/>
                  <a:gd name="connsiteY1" fmla="*/ 7620 h 567945"/>
                  <a:gd name="connsiteX2" fmla="*/ 1110021 w 1110021"/>
                  <a:gd name="connsiteY2" fmla="*/ 362205 h 567945"/>
                  <a:gd name="connsiteX3" fmla="*/ 1087161 w 1110021"/>
                  <a:gd name="connsiteY3" fmla="*/ 538639 h 567945"/>
                  <a:gd name="connsiteX4" fmla="*/ 0 w 1110021"/>
                  <a:gd name="connsiteY4" fmla="*/ 567945 h 567945"/>
                  <a:gd name="connsiteX5" fmla="*/ 38100 w 1110021"/>
                  <a:gd name="connsiteY5" fmla="*/ 0 h 567945"/>
                  <a:gd name="connsiteX0" fmla="*/ 0 w 1071921"/>
                  <a:gd name="connsiteY0" fmla="*/ 0 h 538639"/>
                  <a:gd name="connsiteX1" fmla="*/ 1003341 w 1071921"/>
                  <a:gd name="connsiteY1" fmla="*/ 7620 h 538639"/>
                  <a:gd name="connsiteX2" fmla="*/ 1071921 w 1071921"/>
                  <a:gd name="connsiteY2" fmla="*/ 362205 h 538639"/>
                  <a:gd name="connsiteX3" fmla="*/ 1049061 w 1071921"/>
                  <a:gd name="connsiteY3" fmla="*/ 538639 h 538639"/>
                  <a:gd name="connsiteX4" fmla="*/ 0 w 1071921"/>
                  <a:gd name="connsiteY4" fmla="*/ 537465 h 538639"/>
                  <a:gd name="connsiteX5" fmla="*/ 0 w 1071921"/>
                  <a:gd name="connsiteY5" fmla="*/ 0 h 538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71921" h="538639">
                    <a:moveTo>
                      <a:pt x="0" y="0"/>
                    </a:moveTo>
                    <a:lnTo>
                      <a:pt x="1003341" y="7620"/>
                    </a:lnTo>
                    <a:lnTo>
                      <a:pt x="1071921" y="362205"/>
                    </a:lnTo>
                    <a:cubicBezTo>
                      <a:pt x="1023661" y="367676"/>
                      <a:pt x="1097321" y="533168"/>
                      <a:pt x="1049061" y="538639"/>
                    </a:cubicBezTo>
                    <a:lnTo>
                      <a:pt x="0" y="5374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pic>
            <p:nvPicPr>
              <p:cNvPr id="108" name="Gráfico 107" descr="Autobús con relleno sólido">
                <a:extLst>
                  <a:ext uri="{FF2B5EF4-FFF2-40B4-BE49-F238E27FC236}">
                    <a16:creationId xmlns:a16="http://schemas.microsoft.com/office/drawing/2014/main" id="{7AFA612A-62A3-881D-9FB4-AEE39F915C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408252" y="2399981"/>
                <a:ext cx="1260000" cy="1260000"/>
              </a:xfrm>
              <a:prstGeom prst="rect">
                <a:avLst/>
              </a:prstGeom>
            </p:spPr>
          </p:pic>
        </p:grpSp>
        <p:sp>
          <p:nvSpPr>
            <p:cNvPr id="109" name="Rectángulo 108">
              <a:extLst>
                <a:ext uri="{FF2B5EF4-FFF2-40B4-BE49-F238E27FC236}">
                  <a16:creationId xmlns:a16="http://schemas.microsoft.com/office/drawing/2014/main" id="{2C006AFA-78BF-F30B-B65A-1F9E772F5387}"/>
                </a:ext>
              </a:extLst>
            </p:cNvPr>
            <p:cNvSpPr/>
            <p:nvPr/>
          </p:nvSpPr>
          <p:spPr>
            <a:xfrm rot="5400000">
              <a:off x="5975548" y="3947266"/>
              <a:ext cx="70070" cy="2001645"/>
            </a:xfrm>
            <a:prstGeom prst="rect">
              <a:avLst/>
            </a:prstGeom>
            <a:effectLst>
              <a:softEdge rad="12700"/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111" name="CuadroTexto 110">
            <a:extLst>
              <a:ext uri="{FF2B5EF4-FFF2-40B4-BE49-F238E27FC236}">
                <a16:creationId xmlns:a16="http://schemas.microsoft.com/office/drawing/2014/main" id="{E8F210FB-FCA2-71A8-8C4E-0B1AA80FF3AF}"/>
              </a:ext>
            </a:extLst>
          </p:cNvPr>
          <p:cNvSpPr txBox="1"/>
          <p:nvPr/>
        </p:nvSpPr>
        <p:spPr>
          <a:xfrm>
            <a:off x="1884797" y="5671858"/>
            <a:ext cx="11798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i="1">
                <a:solidFill>
                  <a:schemeClr val="bg1">
                    <a:lumMod val="50000"/>
                  </a:schemeClr>
                </a:solidFill>
              </a:rPr>
              <a:t>18 terminales</a:t>
            </a:r>
            <a:endParaRPr lang="es-CL" sz="1400" i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2" name="CuadroTexto 111">
            <a:extLst>
              <a:ext uri="{FF2B5EF4-FFF2-40B4-BE49-F238E27FC236}">
                <a16:creationId xmlns:a16="http://schemas.microsoft.com/office/drawing/2014/main" id="{FCEDAAA7-AE0E-B3A0-114E-36D4FFBAB3E7}"/>
              </a:ext>
            </a:extLst>
          </p:cNvPr>
          <p:cNvSpPr txBox="1"/>
          <p:nvPr/>
        </p:nvSpPr>
        <p:spPr>
          <a:xfrm>
            <a:off x="5029802" y="5592565"/>
            <a:ext cx="20546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i="1" dirty="0">
                <a:solidFill>
                  <a:schemeClr val="bg1">
                    <a:lumMod val="50000"/>
                  </a:schemeClr>
                </a:solidFill>
              </a:rPr>
              <a:t>9 terminales Copec </a:t>
            </a:r>
            <a:r>
              <a:rPr lang="es-ES" sz="1400" i="1" dirty="0" err="1">
                <a:solidFill>
                  <a:schemeClr val="bg1">
                    <a:lumMod val="50000"/>
                  </a:schemeClr>
                </a:solidFill>
              </a:rPr>
              <a:t>Voltex</a:t>
            </a:r>
            <a:endParaRPr lang="es-ES" sz="1400" i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s-ES" sz="1400" i="1" dirty="0">
                <a:solidFill>
                  <a:schemeClr val="bg1">
                    <a:lumMod val="50000"/>
                  </a:schemeClr>
                </a:solidFill>
              </a:rPr>
              <a:t>2 terminales Enel X</a:t>
            </a:r>
            <a:endParaRPr lang="es-CL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4" name="CuadroTexto 113">
            <a:extLst>
              <a:ext uri="{FF2B5EF4-FFF2-40B4-BE49-F238E27FC236}">
                <a16:creationId xmlns:a16="http://schemas.microsoft.com/office/drawing/2014/main" id="{DDE09CE7-9319-C2AE-479F-06569D7E80BF}"/>
              </a:ext>
            </a:extLst>
          </p:cNvPr>
          <p:cNvSpPr txBox="1"/>
          <p:nvPr/>
        </p:nvSpPr>
        <p:spPr>
          <a:xfrm>
            <a:off x="4506105" y="3069575"/>
            <a:ext cx="31020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i="1" dirty="0">
                <a:solidFill>
                  <a:schemeClr val="bg1">
                    <a:lumMod val="50000"/>
                  </a:schemeClr>
                </a:solidFill>
              </a:rPr>
              <a:t>Llegan 1640 buses en un lapso de 6 meses </a:t>
            </a:r>
            <a:r>
              <a:rPr lang="es-ES" sz="1400" i="1" dirty="0" err="1">
                <a:solidFill>
                  <a:schemeClr val="bg1">
                    <a:lumMod val="50000"/>
                  </a:schemeClr>
                </a:solidFill>
              </a:rPr>
              <a:t>aprox</a:t>
            </a:r>
            <a:r>
              <a:rPr lang="es-ES" sz="1400" i="1" dirty="0">
                <a:solidFill>
                  <a:schemeClr val="bg1">
                    <a:lumMod val="50000"/>
                  </a:schemeClr>
                </a:solidFill>
              </a:rPr>
              <a:t>, iniciando en septiembre</a:t>
            </a:r>
            <a:endParaRPr lang="es-CL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5" name="CuadroTexto 114">
            <a:extLst>
              <a:ext uri="{FF2B5EF4-FFF2-40B4-BE49-F238E27FC236}">
                <a16:creationId xmlns:a16="http://schemas.microsoft.com/office/drawing/2014/main" id="{7E1293A0-D977-18AE-93CB-4AB474D427DE}"/>
              </a:ext>
            </a:extLst>
          </p:cNvPr>
          <p:cNvSpPr txBox="1"/>
          <p:nvPr/>
        </p:nvSpPr>
        <p:spPr>
          <a:xfrm>
            <a:off x="8051119" y="3069575"/>
            <a:ext cx="32679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i="1" dirty="0">
                <a:solidFill>
                  <a:schemeClr val="bg1">
                    <a:lumMod val="50000"/>
                  </a:schemeClr>
                </a:solidFill>
              </a:rPr>
              <a:t>Se traspasan 850 buses actualmente en el sistema durante el primer semestre 2023</a:t>
            </a:r>
            <a:endParaRPr lang="es-CL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6" name="CuadroTexto 115">
            <a:extLst>
              <a:ext uri="{FF2B5EF4-FFF2-40B4-BE49-F238E27FC236}">
                <a16:creationId xmlns:a16="http://schemas.microsoft.com/office/drawing/2014/main" id="{415520FB-1BCF-CC5A-B6D6-E43254A81BEE}"/>
              </a:ext>
            </a:extLst>
          </p:cNvPr>
          <p:cNvSpPr txBox="1"/>
          <p:nvPr/>
        </p:nvSpPr>
        <p:spPr>
          <a:xfrm>
            <a:off x="1151407" y="3069575"/>
            <a:ext cx="26465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i="1" dirty="0">
                <a:solidFill>
                  <a:schemeClr val="bg1">
                    <a:lumMod val="50000"/>
                  </a:schemeClr>
                </a:solidFill>
              </a:rPr>
              <a:t>Actualmente en trabajo con Municipalidades y Operadores</a:t>
            </a:r>
            <a:endParaRPr lang="es-CL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17" name="CuadroTexto 116">
            <a:extLst>
              <a:ext uri="{FF2B5EF4-FFF2-40B4-BE49-F238E27FC236}">
                <a16:creationId xmlns:a16="http://schemas.microsoft.com/office/drawing/2014/main" id="{91017416-D1CE-89FE-6700-6475FE3FCDC8}"/>
              </a:ext>
            </a:extLst>
          </p:cNvPr>
          <p:cNvSpPr txBox="1"/>
          <p:nvPr/>
        </p:nvSpPr>
        <p:spPr>
          <a:xfrm>
            <a:off x="8299942" y="5564136"/>
            <a:ext cx="27702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i="1" dirty="0">
                <a:solidFill>
                  <a:schemeClr val="bg1">
                    <a:lumMod val="50000"/>
                  </a:schemeClr>
                </a:solidFill>
              </a:rPr>
              <a:t>Cálculo de pago, nuevos indicadores, traspaso de sistemas</a:t>
            </a:r>
            <a:endParaRPr lang="es-CL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452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EBihn8dUef1jG7d4VsqA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75000"/>
          </a:schemeClr>
        </a:solidFill>
      </a:spPr>
      <a:bodyPr wrap="square" lIns="36000" tIns="36000" rIns="36000" bIns="36000" rtlCol="0" anchor="ctr">
        <a:noAutofit/>
      </a:bodyPr>
      <a:lstStyle>
        <a:defPPr marL="171450" marR="0" indent="-171450" algn="l" defTabSz="685730" eaLnBrk="1" fontAlgn="auto" latinLnBrk="0" hangingPunct="1">
          <a:spcBef>
            <a:spcPts val="0"/>
          </a:spcBef>
          <a:spcAft>
            <a:spcPts val="0"/>
          </a:spcAft>
          <a:buClrTx/>
          <a:buSzTx/>
          <a:buFont typeface="Arial" panose="020B0604020202020204" pitchFamily="34" charset="0"/>
          <a:buChar char="•"/>
          <a:tabLst/>
          <a:defRPr kumimoji="0" sz="900" b="0" i="0" u="none" strike="noStrike" kern="0" cap="none" spc="0" normalizeH="0" baseline="0" noProof="0" dirty="0" smtClean="0">
            <a:ln>
              <a:noFill/>
            </a:ln>
            <a:effectLst/>
            <a:uLnTx/>
            <a:uFillTx/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2D44DB981E5B445924FDA8D0579DCF8" ma:contentTypeVersion="13" ma:contentTypeDescription="Crear nuevo documento." ma:contentTypeScope="" ma:versionID="c2e43b36249b73c72a05549491bf0480">
  <xsd:schema xmlns:xsd="http://www.w3.org/2001/XMLSchema" xmlns:xs="http://www.w3.org/2001/XMLSchema" xmlns:p="http://schemas.microsoft.com/office/2006/metadata/properties" xmlns:ns2="ebde2159-8954-4d33-9404-012abf7d28d5" xmlns:ns3="718af894-4232-4f60-abd9-77b6101eb923" targetNamespace="http://schemas.microsoft.com/office/2006/metadata/properties" ma:root="true" ma:fieldsID="c0834984d2dfd5e60a970740257e0fbe" ns2:_="" ns3:_="">
    <xsd:import namespace="ebde2159-8954-4d33-9404-012abf7d28d5"/>
    <xsd:import namespace="718af894-4232-4f60-abd9-77b6101eb92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de2159-8954-4d33-9404-012abf7d28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8af894-4232-4f60-abd9-77b6101eb92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E51BF7-19B1-4094-B7A8-D6FCF0FED186}">
  <ds:schemaRefs>
    <ds:schemaRef ds:uri="http://schemas.microsoft.com/office/2006/metadata/properties"/>
    <ds:schemaRef ds:uri="http://purl.org/dc/elements/1.1/"/>
    <ds:schemaRef ds:uri="http://purl.org/dc/dcmitype/"/>
    <ds:schemaRef ds:uri="http://schemas.microsoft.com/office/2006/documentManagement/types"/>
    <ds:schemaRef ds:uri="http://purl.org/dc/terms/"/>
    <ds:schemaRef ds:uri="ebde2159-8954-4d33-9404-012abf7d28d5"/>
    <ds:schemaRef ds:uri="http://schemas.microsoft.com/office/infopath/2007/PartnerControls"/>
    <ds:schemaRef ds:uri="http://schemas.openxmlformats.org/package/2006/metadata/core-properties"/>
    <ds:schemaRef ds:uri="718af894-4232-4f60-abd9-77b6101eb92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B4D9D6C-6477-44BD-9566-94D1C6574B95}">
  <ds:schemaRefs>
    <ds:schemaRef ds:uri="718af894-4232-4f60-abd9-77b6101eb923"/>
    <ds:schemaRef ds:uri="ebde2159-8954-4d33-9404-012abf7d28d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C7B1B9C8-83E2-4E8C-AA07-15E7EE624A2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4</TotalTime>
  <Words>976</Words>
  <Application>Microsoft Office PowerPoint</Application>
  <PresentationFormat>Panorámica</PresentationFormat>
  <Paragraphs>438</Paragraphs>
  <Slides>1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19" baseType="lpstr">
      <vt:lpstr>Arial</vt:lpstr>
      <vt:lpstr>Calibri</vt:lpstr>
      <vt:lpstr>Calibri Light</vt:lpstr>
      <vt:lpstr>Courier New</vt:lpstr>
      <vt:lpstr>Gill Sans</vt:lpstr>
      <vt:lpstr>Verdana</vt:lpstr>
      <vt:lpstr>1_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onsejo Consultivo Asesor de Planificación y Estrategia</vt:lpstr>
      <vt:lpstr>Presentación de PowerPoint</vt:lpstr>
      <vt:lpstr>Presentación de PowerPoin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bios Plan de Operaciones</dc:title>
  <dc:creator>valentina.rios</dc:creator>
  <cp:lastModifiedBy>Diego Silva López</cp:lastModifiedBy>
  <cp:revision>20</cp:revision>
  <cp:lastPrinted>2022-07-04T18:57:51Z</cp:lastPrinted>
  <dcterms:created xsi:type="dcterms:W3CDTF">2015-01-15T12:43:29Z</dcterms:created>
  <dcterms:modified xsi:type="dcterms:W3CDTF">2022-08-18T18:17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D44DB981E5B445924FDA8D0579DCF8</vt:lpwstr>
  </property>
</Properties>
</file>